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Lst>
  <p:notesMasterIdLst>
    <p:notesMasterId r:id="rId14"/>
  </p:notesMasterIdLst>
  <p:sldIdLst>
    <p:sldId id="546" r:id="rId6"/>
    <p:sldId id="537" r:id="rId7"/>
    <p:sldId id="662" r:id="rId8"/>
    <p:sldId id="638" r:id="rId9"/>
    <p:sldId id="663" r:id="rId10"/>
    <p:sldId id="544" r:id="rId11"/>
    <p:sldId id="545" r:id="rId12"/>
    <p:sldId id="543" r:id="rId1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6179B"/>
    <a:srgbClr val="1C408E"/>
    <a:srgbClr val="FFFFFF"/>
    <a:srgbClr val="C4EBE6"/>
    <a:srgbClr val="79B2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17" autoAdjust="0"/>
    <p:restoredTop sz="94660"/>
  </p:normalViewPr>
  <p:slideViewPr>
    <p:cSldViewPr snapToGrid="0">
      <p:cViewPr varScale="1">
        <p:scale>
          <a:sx n="108" d="100"/>
          <a:sy n="108" d="100"/>
        </p:scale>
        <p:origin x="378"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415418-D665-4143-AC81-52346805A8CF}" type="datetimeFigureOut">
              <a:rPr lang="fr-FR" smtClean="0"/>
              <a:t>30/03/2025</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6143BA-DF06-412F-9507-30F52E31A99F}" type="slidenum">
              <a:rPr lang="fr-FR" smtClean="0"/>
              <a:t>‹N°›</a:t>
            </a:fld>
            <a:endParaRPr lang="fr-FR"/>
          </a:p>
        </p:txBody>
      </p:sp>
    </p:spTree>
    <p:extLst>
      <p:ext uri="{BB962C8B-B14F-4D97-AF65-F5344CB8AC3E}">
        <p14:creationId xmlns:p14="http://schemas.microsoft.com/office/powerpoint/2010/main" val="7323856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Tree>
    <p:extLst>
      <p:ext uri="{BB962C8B-B14F-4D97-AF65-F5344CB8AC3E}">
        <p14:creationId xmlns:p14="http://schemas.microsoft.com/office/powerpoint/2010/main" val="3026718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Tree>
    <p:extLst>
      <p:ext uri="{BB962C8B-B14F-4D97-AF65-F5344CB8AC3E}">
        <p14:creationId xmlns:p14="http://schemas.microsoft.com/office/powerpoint/2010/main" val="36047231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2070483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3238539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Tree>
    <p:extLst>
      <p:ext uri="{BB962C8B-B14F-4D97-AF65-F5344CB8AC3E}">
        <p14:creationId xmlns:p14="http://schemas.microsoft.com/office/powerpoint/2010/main" val="36342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Tree>
    <p:extLst>
      <p:ext uri="{BB962C8B-B14F-4D97-AF65-F5344CB8AC3E}">
        <p14:creationId xmlns:p14="http://schemas.microsoft.com/office/powerpoint/2010/main" val="2802450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8</a:t>
            </a:fld>
            <a:endParaRPr lang="fr-FR" dirty="0"/>
          </a:p>
        </p:txBody>
      </p:sp>
    </p:spTree>
    <p:extLst>
      <p:ext uri="{BB962C8B-B14F-4D97-AF65-F5344CB8AC3E}">
        <p14:creationId xmlns:p14="http://schemas.microsoft.com/office/powerpoint/2010/main" val="4256013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oleObject" Target="../embeddings/oleObject1.bin"/><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oleObject" Target="../embeddings/oleObject1.bin"/><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1C6E509-4AB8-524C-8C47-530326574D16}"/>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0A87BAEE-D5D1-363B-6A1E-E84A6DD13D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7A5476E8-C7C8-316A-A6A1-A2B2FD112418}"/>
              </a:ext>
            </a:extLst>
          </p:cNvPr>
          <p:cNvSpPr>
            <a:spLocks noGrp="1"/>
          </p:cNvSpPr>
          <p:nvPr>
            <p:ph type="dt" sz="half" idx="10"/>
          </p:nvPr>
        </p:nvSpPr>
        <p:spPr/>
        <p:txBody>
          <a:bodyPr/>
          <a:lstStyle/>
          <a:p>
            <a:fld id="{9E0B99F0-0FDB-4E54-BFFB-CCEB1DFB2459}" type="datetimeFigureOut">
              <a:rPr lang="fr-FR" smtClean="0"/>
              <a:t>30/03/2025</a:t>
            </a:fld>
            <a:endParaRPr lang="fr-FR"/>
          </a:p>
        </p:txBody>
      </p:sp>
      <p:sp>
        <p:nvSpPr>
          <p:cNvPr id="5" name="Espace réservé du pied de page 4">
            <a:extLst>
              <a:ext uri="{FF2B5EF4-FFF2-40B4-BE49-F238E27FC236}">
                <a16:creationId xmlns:a16="http://schemas.microsoft.com/office/drawing/2014/main" id="{3B5D6E26-F0C5-073D-4DFA-0C2412F1FA8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A5FEE83-6A10-39FD-DE12-B25071603DFB}"/>
              </a:ext>
            </a:extLst>
          </p:cNvPr>
          <p:cNvSpPr>
            <a:spLocks noGrp="1"/>
          </p:cNvSpPr>
          <p:nvPr>
            <p:ph type="sldNum" sz="quarter" idx="12"/>
          </p:nvPr>
        </p:nvSpPr>
        <p:spPr/>
        <p:txBody>
          <a:bodyPr/>
          <a:lstStyle/>
          <a:p>
            <a:fld id="{49CF02E1-0700-4211-9D41-F3C2B6DBFA1E}" type="slidenum">
              <a:rPr lang="fr-FR" smtClean="0"/>
              <a:t>‹N°›</a:t>
            </a:fld>
            <a:endParaRPr lang="fr-FR"/>
          </a:p>
        </p:txBody>
      </p:sp>
    </p:spTree>
    <p:extLst>
      <p:ext uri="{BB962C8B-B14F-4D97-AF65-F5344CB8AC3E}">
        <p14:creationId xmlns:p14="http://schemas.microsoft.com/office/powerpoint/2010/main" val="2102934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C05922-884B-3183-C2AB-024BB6AEF2EE}"/>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33E8DE9C-25E6-0BB9-E764-7F22A0BA6D5F}"/>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5BD4534-15F2-5C32-B8FA-B78751A8D7CF}"/>
              </a:ext>
            </a:extLst>
          </p:cNvPr>
          <p:cNvSpPr>
            <a:spLocks noGrp="1"/>
          </p:cNvSpPr>
          <p:nvPr>
            <p:ph type="dt" sz="half" idx="10"/>
          </p:nvPr>
        </p:nvSpPr>
        <p:spPr/>
        <p:txBody>
          <a:bodyPr/>
          <a:lstStyle/>
          <a:p>
            <a:fld id="{9E0B99F0-0FDB-4E54-BFFB-CCEB1DFB2459}" type="datetimeFigureOut">
              <a:rPr lang="fr-FR" smtClean="0"/>
              <a:t>30/03/2025</a:t>
            </a:fld>
            <a:endParaRPr lang="fr-FR"/>
          </a:p>
        </p:txBody>
      </p:sp>
      <p:sp>
        <p:nvSpPr>
          <p:cNvPr id="5" name="Espace réservé du pied de page 4">
            <a:extLst>
              <a:ext uri="{FF2B5EF4-FFF2-40B4-BE49-F238E27FC236}">
                <a16:creationId xmlns:a16="http://schemas.microsoft.com/office/drawing/2014/main" id="{29677993-E1D3-A588-60E7-D6C3747340C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26AB0045-B30E-38EB-A05C-543D52E328A9}"/>
              </a:ext>
            </a:extLst>
          </p:cNvPr>
          <p:cNvSpPr>
            <a:spLocks noGrp="1"/>
          </p:cNvSpPr>
          <p:nvPr>
            <p:ph type="sldNum" sz="quarter" idx="12"/>
          </p:nvPr>
        </p:nvSpPr>
        <p:spPr/>
        <p:txBody>
          <a:bodyPr/>
          <a:lstStyle/>
          <a:p>
            <a:fld id="{49CF02E1-0700-4211-9D41-F3C2B6DBFA1E}" type="slidenum">
              <a:rPr lang="fr-FR" smtClean="0"/>
              <a:t>‹N°›</a:t>
            </a:fld>
            <a:endParaRPr lang="fr-FR"/>
          </a:p>
        </p:txBody>
      </p:sp>
    </p:spTree>
    <p:extLst>
      <p:ext uri="{BB962C8B-B14F-4D97-AF65-F5344CB8AC3E}">
        <p14:creationId xmlns:p14="http://schemas.microsoft.com/office/powerpoint/2010/main" val="42830161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5F56630E-4DD4-BCCE-2479-07222BA55DF8}"/>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C03B87E1-1A07-AE32-088B-00306B097E05}"/>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5FF38A1-F830-905B-ED44-E7D92FBCE7AB}"/>
              </a:ext>
            </a:extLst>
          </p:cNvPr>
          <p:cNvSpPr>
            <a:spLocks noGrp="1"/>
          </p:cNvSpPr>
          <p:nvPr>
            <p:ph type="dt" sz="half" idx="10"/>
          </p:nvPr>
        </p:nvSpPr>
        <p:spPr/>
        <p:txBody>
          <a:bodyPr/>
          <a:lstStyle/>
          <a:p>
            <a:fld id="{9E0B99F0-0FDB-4E54-BFFB-CCEB1DFB2459}" type="datetimeFigureOut">
              <a:rPr lang="fr-FR" smtClean="0"/>
              <a:t>30/03/2025</a:t>
            </a:fld>
            <a:endParaRPr lang="fr-FR"/>
          </a:p>
        </p:txBody>
      </p:sp>
      <p:sp>
        <p:nvSpPr>
          <p:cNvPr id="5" name="Espace réservé du pied de page 4">
            <a:extLst>
              <a:ext uri="{FF2B5EF4-FFF2-40B4-BE49-F238E27FC236}">
                <a16:creationId xmlns:a16="http://schemas.microsoft.com/office/drawing/2014/main" id="{19BC25DB-5225-E0F5-BC82-1F4083FE99CD}"/>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C9D4F07-A2DE-7A58-5715-530111D0795A}"/>
              </a:ext>
            </a:extLst>
          </p:cNvPr>
          <p:cNvSpPr>
            <a:spLocks noGrp="1"/>
          </p:cNvSpPr>
          <p:nvPr>
            <p:ph type="sldNum" sz="quarter" idx="12"/>
          </p:nvPr>
        </p:nvSpPr>
        <p:spPr/>
        <p:txBody>
          <a:bodyPr/>
          <a:lstStyle/>
          <a:p>
            <a:fld id="{49CF02E1-0700-4211-9D41-F3C2B6DBFA1E}" type="slidenum">
              <a:rPr lang="fr-FR" smtClean="0"/>
              <a:t>‹N°›</a:t>
            </a:fld>
            <a:endParaRPr lang="fr-FR"/>
          </a:p>
        </p:txBody>
      </p:sp>
    </p:spTree>
    <p:extLst>
      <p:ext uri="{BB962C8B-B14F-4D97-AF65-F5344CB8AC3E}">
        <p14:creationId xmlns:p14="http://schemas.microsoft.com/office/powerpoint/2010/main" val="350694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lid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A115DAA0-BF86-4551-94D3-33E92DF3C922}" type="datetime1">
              <a:rPr lang="fr-FR" cap="all" smtClean="0"/>
              <a:t>30/03/2025</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6"/>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20286629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userDrawn="1">
  <p:cSld name="Title Only">
    <p:spTree>
      <p:nvGrpSpPr>
        <p:cNvPr id="1" name=""/>
        <p:cNvGrpSpPr/>
        <p:nvPr/>
      </p:nvGrpSpPr>
      <p:grpSpPr bwMode="auto">
        <a:xfrm>
          <a:off x="0" y="0"/>
          <a:ext cx="0" cy="0"/>
          <a:chOff x="0" y="0"/>
          <a:chExt cx="0" cy="0"/>
        </a:xfrm>
      </p:grpSpPr>
      <p:graphicFrame>
        <p:nvGraphicFramePr>
          <p:cNvPr id="3" name="Objet 2"/>
          <p:cNvGraphicFramePr>
            <a:graphicFrameLocks noChangeAspect="1"/>
          </p:cNvGraphicFramePr>
          <p:nvPr/>
        </p:nvGraphicFramePr>
        <p:xfrm>
          <a:off x="2162" y="1623"/>
          <a:ext cx="2157" cy="1619"/>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3" name="Objet 2"/>
                      <p:cNvPicPr/>
                      <p:nvPr/>
                    </p:nvPicPr>
                    <p:blipFill>
                      <a:blip r:embed="rId3"/>
                      <a:stretch/>
                    </p:blipFill>
                    <p:spPr bwMode="auto">
                      <a:xfrm>
                        <a:off x="2162" y="1623"/>
                        <a:ext cx="2157" cy="1619"/>
                      </a:xfrm>
                      <a:prstGeom prst="rect">
                        <a:avLst/>
                      </a:prstGeom>
                    </p:spPr>
                  </p:pic>
                </p:oleObj>
              </mc:Fallback>
            </mc:AlternateContent>
          </a:graphicData>
        </a:graphic>
      </p:graphicFrame>
      <p:sp>
        <p:nvSpPr>
          <p:cNvPr id="2" name="2. Slide Title"/>
          <p:cNvSpPr>
            <a:spLocks noGrp="1"/>
          </p:cNvSpPr>
          <p:nvPr>
            <p:ph type="title"/>
          </p:nvPr>
        </p:nvSpPr>
        <p:spPr bwMode="auto">
          <a:xfrm>
            <a:off x="1230578" y="234865"/>
            <a:ext cx="10656893" cy="392536"/>
          </a:xfrm>
        </p:spPr>
        <p:txBody>
          <a:bodyPr/>
          <a:lstStyle>
            <a:lvl1pPr>
              <a:defRPr sz="2533">
                <a:solidFill>
                  <a:schemeClr val="tx1"/>
                </a:solidFill>
              </a:defRPr>
            </a:lvl1pPr>
          </a:lstStyle>
          <a:p>
            <a:pPr>
              <a:defRPr/>
            </a:pPr>
            <a:r>
              <a:rPr lang="en-US"/>
              <a:t>Click to edit Master title style</a:t>
            </a:r>
            <a:endParaRPr/>
          </a:p>
        </p:txBody>
      </p:sp>
      <p:sp>
        <p:nvSpPr>
          <p:cNvPr id="8" name="Slide Number"/>
          <p:cNvSpPr txBox="1"/>
          <p:nvPr userDrawn="1"/>
        </p:nvSpPr>
        <p:spPr bwMode="auto">
          <a:xfrm>
            <a:off x="11559197" y="6537394"/>
            <a:ext cx="227626" cy="164212"/>
          </a:xfrm>
          <a:prstGeom prst="rect">
            <a:avLst/>
          </a:prstGeom>
        </p:spPr>
        <p:txBody>
          <a:bodyPr vert="horz" wrap="none" lIns="0" tIns="0" rIns="0" bIns="0" rtlCol="0" anchor="ctr">
            <a:spAutoFit/>
          </a:bodyPr>
          <a:lstStyle>
            <a:defPPr>
              <a:defRPr/>
            </a:defPPr>
            <a:lvl1pPr>
              <a:defRPr sz="1000">
                <a:latin typeface="+mn-lt"/>
              </a:defRPr>
            </a:lvl1pPr>
          </a:lstStyle>
          <a:p>
            <a:pPr algn="r">
              <a:spcBef>
                <a:spcPts val="0"/>
              </a:spcBef>
              <a:spcAft>
                <a:spcPts val="0"/>
              </a:spcAft>
              <a:defRPr/>
            </a:pPr>
            <a:fld id="{42C328C1-A84F-4A39-A664-DBA00541A8C6}" type="slidenum">
              <a:rPr sz="1067">
                <a:solidFill>
                  <a:srgbClr val="000000"/>
                </a:solidFill>
              </a:rPr>
              <a:pPr algn="r">
                <a:spcBef>
                  <a:spcPts val="0"/>
                </a:spcBef>
                <a:spcAft>
                  <a:spcPts val="0"/>
                </a:spcAft>
                <a:defRPr/>
              </a:pPr>
              <a:t>‹N°›</a:t>
            </a:fld>
            <a:endParaRPr sz="1067">
              <a:solidFill>
                <a:srgbClr val="000000"/>
              </a:solidFill>
            </a:endParaRPr>
          </a:p>
        </p:txBody>
      </p:sp>
    </p:spTree>
    <p:extLst>
      <p:ext uri="{BB962C8B-B14F-4D97-AF65-F5344CB8AC3E}">
        <p14:creationId xmlns:p14="http://schemas.microsoft.com/office/powerpoint/2010/main" val="2172133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1DD97CA-E387-4CC7-B715-115B63E91B01}" type="datetime1">
              <a:rPr lang="fr-FR" cap="all" smtClean="0"/>
              <a:t>30/03/2025</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6"/>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3056575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4DA8ED70-FAB4-4269-8738-FDAAD83800AD}" type="datetime1">
              <a:rPr lang="fr-FR" cap="all" smtClean="0"/>
              <a:t>30/03/2025</a:t>
            </a:fld>
            <a:endParaRPr lang="fr-FR" cap="all" dirty="0"/>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431801" y="910402"/>
            <a:ext cx="11233151" cy="719988"/>
          </a:xfrm>
        </p:spPr>
        <p:txBody>
          <a:bodyPr/>
          <a:lstStyle/>
          <a:p>
            <a:r>
              <a:rPr lang="fr-FR" dirty="0"/>
              <a:t>Sommaire</a:t>
            </a:r>
          </a:p>
        </p:txBody>
      </p:sp>
      <p:sp>
        <p:nvSpPr>
          <p:cNvPr id="26" name="Espace réservé du pied de page 4">
            <a:extLst>
              <a:ext uri="{FF2B5EF4-FFF2-40B4-BE49-F238E27FC236}">
                <a16:creationId xmlns:a16="http://schemas.microsoft.com/office/drawing/2014/main" id="{745ED2D7-3CC1-3B41-AA37-64BDE1CE2471}"/>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cxnSp>
        <p:nvCxnSpPr>
          <p:cNvPr id="3" name="Connecteur droit 2"/>
          <p:cNvCxnSpPr/>
          <p:nvPr userDrawn="1"/>
        </p:nvCxnSpPr>
        <p:spPr>
          <a:xfrm>
            <a:off x="1199456" y="2084851"/>
            <a:ext cx="0" cy="38404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Espace réservé du texte 15"/>
          <p:cNvSpPr>
            <a:spLocks noGrp="1"/>
          </p:cNvSpPr>
          <p:nvPr>
            <p:ph type="body" sz="quarter" idx="15" hasCustomPrompt="1"/>
          </p:nvPr>
        </p:nvSpPr>
        <p:spPr>
          <a:xfrm>
            <a:off x="1390651" y="2084918"/>
            <a:ext cx="10176933" cy="3839633"/>
          </a:xfrm>
        </p:spPr>
        <p:txBody>
          <a:bodyPr/>
          <a:lstStyle>
            <a:lvl1pPr>
              <a:defRPr/>
            </a:lvl1pPr>
            <a:lvl2pPr marL="239994" indent="0">
              <a:buFont typeface="Marianne" panose="02000000000000000000" pitchFamily="50" charset="0"/>
              <a:buNone/>
              <a:defRPr sz="1333"/>
            </a:lvl2pPr>
          </a:lstStyle>
          <a:p>
            <a:pPr lvl="0"/>
            <a:r>
              <a:rPr lang="fr-FR" u="sng" dirty="0"/>
              <a:t>Texte de niveau 1</a:t>
            </a:r>
          </a:p>
          <a:p>
            <a:pPr lvl="1">
              <a:buFont typeface="Marianne" panose="02000000000000000000" pitchFamily="50" charset="0"/>
              <a:buChar char="•"/>
            </a:pPr>
            <a:r>
              <a:rPr lang="fr-FR" dirty="0">
                <a:solidFill>
                  <a:srgbClr val="002060"/>
                </a:solidFill>
              </a:rPr>
              <a:t>Texte de niveau 2</a:t>
            </a:r>
          </a:p>
          <a:p>
            <a:pPr lvl="0"/>
            <a:r>
              <a:rPr lang="fr-FR" u="sng" dirty="0"/>
              <a:t>Texte de niveau 1</a:t>
            </a:r>
          </a:p>
          <a:p>
            <a:pPr lvl="1">
              <a:buFont typeface="Marianne" panose="02000000000000000000" pitchFamily="50" charset="0"/>
              <a:buChar char="•"/>
            </a:pPr>
            <a:r>
              <a:rPr lang="fr-FR" dirty="0">
                <a:solidFill>
                  <a:srgbClr val="002060"/>
                </a:solidFill>
              </a:rPr>
              <a:t>Texte de niveau 2</a:t>
            </a:r>
            <a:endParaRPr lang="fr-FR" u="sng" dirty="0"/>
          </a:p>
          <a:p>
            <a:pPr lvl="0"/>
            <a:r>
              <a:rPr lang="fr-FR" u="sng" dirty="0"/>
              <a:t>Texte de niveau 1</a:t>
            </a:r>
          </a:p>
          <a:p>
            <a:pPr lvl="1">
              <a:buFont typeface="Marianne" panose="02000000000000000000" pitchFamily="50" charset="0"/>
              <a:buChar char="•"/>
            </a:pPr>
            <a:r>
              <a:rPr lang="fr-FR" dirty="0">
                <a:solidFill>
                  <a:srgbClr val="002060"/>
                </a:solidFill>
              </a:rPr>
              <a:t>Texte de niveau 2</a:t>
            </a:r>
          </a:p>
          <a:p>
            <a:pPr lvl="1">
              <a:buFont typeface="Marianne" panose="02000000000000000000" pitchFamily="50" charset="0"/>
              <a:buChar char="•"/>
            </a:pPr>
            <a:endParaRPr lang="fr-FR" dirty="0">
              <a:solidFill>
                <a:srgbClr val="002060"/>
              </a:solidFill>
            </a:endParaRPr>
          </a:p>
        </p:txBody>
      </p:sp>
      <p:sp>
        <p:nvSpPr>
          <p:cNvPr id="20" name="Espace réservé du texte 15"/>
          <p:cNvSpPr>
            <a:spLocks noGrp="1"/>
          </p:cNvSpPr>
          <p:nvPr>
            <p:ph type="body" sz="quarter" idx="16" hasCustomPrompt="1"/>
          </p:nvPr>
        </p:nvSpPr>
        <p:spPr>
          <a:xfrm>
            <a:off x="298493" y="2084852"/>
            <a:ext cx="805367" cy="384043"/>
          </a:xfrm>
        </p:spPr>
        <p:txBody>
          <a:bodyPr/>
          <a:lstStyle>
            <a:lvl1pPr marL="122764" marR="0" indent="0" algn="r" defTabSz="1219170" rtl="0" eaLnBrk="1" fontAlgn="auto" latinLnBrk="0" hangingPunct="1">
              <a:lnSpc>
                <a:spcPct val="150000"/>
              </a:lnSpc>
              <a:spcBef>
                <a:spcPts val="0"/>
              </a:spcBef>
              <a:spcAft>
                <a:spcPts val="667"/>
              </a:spcAft>
              <a:buClrTx/>
              <a:buSzTx/>
              <a:buFont typeface="Arial" pitchFamily="34" charset="0"/>
              <a:buNone/>
              <a:tabLst/>
              <a:defRPr b="1" u="none"/>
            </a:lvl1pPr>
            <a:lvl2pPr marL="239994" indent="0">
              <a:buFont typeface="Marianne" panose="02000000000000000000" pitchFamily="50" charset="0"/>
              <a:buNone/>
              <a:defRPr sz="1333"/>
            </a:lvl2pPr>
          </a:lstStyle>
          <a:p>
            <a:pPr marL="122764" marR="0" lvl="0" indent="0" algn="r" defTabSz="1219170" rtl="0" eaLnBrk="1" fontAlgn="auto" latinLnBrk="0" hangingPunct="1">
              <a:lnSpc>
                <a:spcPct val="100000"/>
              </a:lnSpc>
              <a:spcBef>
                <a:spcPts val="0"/>
              </a:spcBef>
              <a:spcAft>
                <a:spcPts val="667"/>
              </a:spcAft>
              <a:buClrTx/>
              <a:buSzTx/>
              <a:buFont typeface="Arial" pitchFamily="34" charset="0"/>
              <a:buNone/>
              <a:tabLst/>
              <a:defRPr/>
            </a:pPr>
            <a:r>
              <a:rPr lang="fr-FR" u="sng" dirty="0"/>
              <a:t>1</a:t>
            </a:r>
          </a:p>
          <a:p>
            <a:pPr lvl="0"/>
            <a:endParaRPr lang="fr-FR" u="sng" dirty="0"/>
          </a:p>
        </p:txBody>
      </p:sp>
    </p:spTree>
    <p:extLst>
      <p:ext uri="{BB962C8B-B14F-4D97-AF65-F5344CB8AC3E}">
        <p14:creationId xmlns:p14="http://schemas.microsoft.com/office/powerpoint/2010/main" val="8933338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52232A7E-D098-4CD2-979A-D2A76A9CB2D6}" type="datetime1">
              <a:rPr lang="fr-FR" cap="all" smtClean="0"/>
              <a:t>30/03/2025</a:t>
            </a:fld>
            <a:endParaRPr lang="fr-FR" cap="all" dirty="0"/>
          </a:p>
        </p:txBody>
      </p:sp>
      <p:sp>
        <p:nvSpPr>
          <p:cNvPr id="26" name="Espace réservé du pied de page 4">
            <a:extLst>
              <a:ext uri="{FF2B5EF4-FFF2-40B4-BE49-F238E27FC236}">
                <a16:creationId xmlns:a16="http://schemas.microsoft.com/office/drawing/2014/main" id="{745ED2D7-3CC1-3B41-AA37-64BDE1CE2471}"/>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431801" y="910402"/>
            <a:ext cx="11233151" cy="719988"/>
          </a:xfrm>
        </p:spPr>
        <p:txBody>
          <a:bodyPr/>
          <a:lstStyle/>
          <a:p>
            <a:r>
              <a:rPr lang="fr-FR" dirty="0"/>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431371" y="2276872"/>
            <a:ext cx="3408628" cy="3840427"/>
          </a:xfrm>
        </p:spPr>
        <p:txBody>
          <a:bodyPr/>
          <a:lstStyle>
            <a:lvl1pPr>
              <a:defRPr/>
            </a:lvl1pPr>
            <a:lvl2pPr>
              <a:defRPr>
                <a:solidFill>
                  <a:srgbClr val="002060"/>
                </a:solidFill>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4367808" y="2276872"/>
            <a:ext cx="3360000" cy="3840427"/>
          </a:xfrm>
        </p:spPr>
        <p:txBody>
          <a:bodyPr/>
          <a:lstStyle>
            <a:lvl1pPr>
              <a:defRPr/>
            </a:lvl1pPr>
            <a:lvl2pPr>
              <a:defRPr>
                <a:solidFill>
                  <a:srgbClr val="002060"/>
                </a:solidFill>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8304245" y="2276872"/>
            <a:ext cx="3360000" cy="3840427"/>
          </a:xfrm>
        </p:spPr>
        <p:txBody>
          <a:bodyPr/>
          <a:lstStyle>
            <a:lvl1pPr>
              <a:defRPr/>
            </a:lvl1pPr>
            <a:lvl2pPr>
              <a:defRPr>
                <a:solidFill>
                  <a:srgbClr val="002060"/>
                </a:solidFill>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16940994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431371" y="2276872"/>
            <a:ext cx="3360000" cy="3840427"/>
          </a:xfrm>
        </p:spPr>
        <p:txBody>
          <a:bodyPr/>
          <a:lstStyle>
            <a:lvl1pPr>
              <a:defRPr/>
            </a:lvl1pPr>
            <a:lvl2pPr>
              <a:defRPr>
                <a:solidFill>
                  <a:srgbClr val="002060"/>
                </a:solidFill>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67952609-3AFE-4405-96D6-638AEBD0CE53}" type="datetime1">
              <a:rPr lang="fr-FR" cap="all" smtClean="0"/>
              <a:t>30/03/2025</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20" name="Espace réservé du pied de page 4">
            <a:extLst>
              <a:ext uri="{FF2B5EF4-FFF2-40B4-BE49-F238E27FC236}">
                <a16:creationId xmlns:a16="http://schemas.microsoft.com/office/drawing/2014/main" id="{D46074BB-6BF7-8249-9377-D0271B2AECBB}"/>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4175787" y="2276872"/>
            <a:ext cx="7488832" cy="3840427"/>
          </a:xfrm>
        </p:spPr>
        <p:txBody>
          <a:bodyPr/>
          <a:lstStyle/>
          <a:p>
            <a:r>
              <a:rPr lang="fr-FR" dirty="0"/>
              <a:t>Faire glisser l'image vers l'espace réservé ou cliquer sur l'icône pour l'ajouter</a:t>
            </a:r>
          </a:p>
        </p:txBody>
      </p:sp>
    </p:spTree>
    <p:extLst>
      <p:ext uri="{BB962C8B-B14F-4D97-AF65-F5344CB8AC3E}">
        <p14:creationId xmlns:p14="http://schemas.microsoft.com/office/powerpoint/2010/main" val="20163901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2" name="Espace réservé du texte 11"/>
          <p:cNvSpPr>
            <a:spLocks noGrp="1"/>
          </p:cNvSpPr>
          <p:nvPr>
            <p:ph type="body" sz="quarter" idx="14" hasCustomPrompt="1"/>
          </p:nvPr>
        </p:nvSpPr>
        <p:spPr bwMode="gray">
          <a:xfrm>
            <a:off x="8304245" y="2276872"/>
            <a:ext cx="3360000"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431801" y="6396842"/>
            <a:ext cx="1613913" cy="461159"/>
          </a:xfrm>
          <a:prstGeom prst="rect">
            <a:avLst/>
          </a:prstGeom>
        </p:spPr>
        <p:txBody>
          <a:bodyPr vert="horz" lIns="0" tIns="0" rIns="0" bIns="0" rtlCol="0" anchor="ctr" anchorCtr="0">
            <a:noAutofit/>
          </a:bodyPr>
          <a:lstStyle>
            <a:lvl1pPr algn="l">
              <a:defRPr sz="1000" b="1">
                <a:solidFill>
                  <a:schemeClr val="tx1"/>
                </a:solidFill>
              </a:defRPr>
            </a:lvl1pPr>
          </a:lstStyle>
          <a:p>
            <a:fld id="{4F027B1D-CD6B-45BC-B11F-E0FB5611C256}" type="datetime1">
              <a:rPr lang="fr-FR" cap="all" smtClean="0"/>
              <a:t>30/03/2025</a:t>
            </a:fld>
            <a:endParaRPr lang="fr-FR" cap="all" dirty="0"/>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431801" y="1664906"/>
            <a:ext cx="11232819" cy="323935"/>
          </a:xfrm>
        </p:spPr>
        <p:txBody>
          <a:bodyPr/>
          <a:lstStyle>
            <a:lvl1pPr marL="0" indent="1269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431801" y="910402"/>
            <a:ext cx="11233151" cy="719988"/>
          </a:xfrm>
        </p:spPr>
        <p:txBody>
          <a:bodyPr/>
          <a:lstStyle/>
          <a:p>
            <a:r>
              <a:rPr lang="fr-FR" dirty="0"/>
              <a:t>Titre</a:t>
            </a:r>
          </a:p>
        </p:txBody>
      </p:sp>
      <p:sp>
        <p:nvSpPr>
          <p:cNvPr id="20" name="Espace réservé du pied de page 4">
            <a:extLst>
              <a:ext uri="{FF2B5EF4-FFF2-40B4-BE49-F238E27FC236}">
                <a16:creationId xmlns:a16="http://schemas.microsoft.com/office/drawing/2014/main" id="{D46074BB-6BF7-8249-9377-D0271B2AECBB}"/>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431371" y="2276873"/>
            <a:ext cx="7681384" cy="3839633"/>
          </a:xfrm>
        </p:spPr>
        <p:txBody>
          <a:bodyPr/>
          <a:lstStyle/>
          <a:p>
            <a:r>
              <a:rPr lang="fr-FR"/>
              <a:t>Cliquez sur l'icône pour ajouter un graphique</a:t>
            </a:r>
          </a:p>
        </p:txBody>
      </p:sp>
    </p:spTree>
    <p:extLst>
      <p:ext uri="{BB962C8B-B14F-4D97-AF65-F5344CB8AC3E}">
        <p14:creationId xmlns:p14="http://schemas.microsoft.com/office/powerpoint/2010/main" val="38853737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431800" y="2852936"/>
            <a:ext cx="11232000" cy="3057632"/>
          </a:xfrm>
        </p:spPr>
        <p:txBody>
          <a:bodyPr/>
          <a:lstStyle>
            <a:lvl1pPr>
              <a:lnSpc>
                <a:spcPct val="90000"/>
              </a:lnSpc>
              <a:spcAft>
                <a:spcPts val="0"/>
              </a:spcAft>
              <a:defRPr sz="4333" b="1" cap="all" baseline="0">
                <a:solidFill>
                  <a:srgbClr val="002060"/>
                </a:solidFill>
              </a:defRPr>
            </a:lvl1pPr>
            <a:lvl2pPr marL="122764" indent="0">
              <a:spcBef>
                <a:spcPts val="667"/>
              </a:spcBef>
              <a:spcAft>
                <a:spcPts val="0"/>
              </a:spcAft>
              <a:buNone/>
              <a:tabLst/>
              <a:defRPr sz="2467">
                <a:solidFill>
                  <a:srgbClr val="F48F70"/>
                </a:solidFill>
              </a:defRPr>
            </a:lvl2pPr>
          </a:lstStyle>
          <a:p>
            <a:pPr lvl="0"/>
            <a:r>
              <a:rPr lang="fr-FR" dirty="0"/>
              <a:t>Titre</a:t>
            </a:r>
          </a:p>
          <a:p>
            <a:pPr lvl="1"/>
            <a:r>
              <a:rPr lang="fr-FR" dirty="0"/>
              <a:t>Sous-titre</a:t>
            </a:r>
          </a:p>
        </p:txBody>
      </p: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431801" y="6532715"/>
            <a:ext cx="1613913" cy="325285"/>
          </a:xfrm>
          <a:prstGeom prst="rect">
            <a:avLst/>
          </a:prstGeom>
        </p:spPr>
        <p:txBody>
          <a:bodyPr vert="horz" lIns="0" tIns="0" rIns="0" bIns="0" rtlCol="0" anchor="ctr" anchorCtr="0">
            <a:noAutofit/>
          </a:bodyPr>
          <a:lstStyle>
            <a:lvl1pPr algn="l">
              <a:defRPr sz="1000" b="1">
                <a:solidFill>
                  <a:schemeClr val="tx1"/>
                </a:solidFill>
              </a:defRPr>
            </a:lvl1pPr>
          </a:lstStyle>
          <a:p>
            <a:fld id="{856B8979-CA44-44DC-9A8B-3631F6F415A8}" type="datetime1">
              <a:rPr lang="fr-FR" cap="all" smtClean="0"/>
              <a:t>30/03/2025</a:t>
            </a:fld>
            <a:endParaRPr lang="fr-FR" cap="all" dirty="0"/>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9864951" y="6532715"/>
            <a:ext cx="1800000" cy="325285"/>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sp>
        <p:nvSpPr>
          <p:cNvPr id="16" name="Espace réservé du pied de page 4">
            <a:extLst>
              <a:ext uri="{FF2B5EF4-FFF2-40B4-BE49-F238E27FC236}">
                <a16:creationId xmlns:a16="http://schemas.microsoft.com/office/drawing/2014/main" id="{4D728EC0-9FC5-AB4E-B907-86A468EF1E2A}"/>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pic>
        <p:nvPicPr>
          <p:cNvPr id="8" name="Image 7">
            <a:extLst>
              <a:ext uri="{FF2B5EF4-FFF2-40B4-BE49-F238E27FC236}">
                <a16:creationId xmlns:a16="http://schemas.microsoft.com/office/drawing/2014/main" id="{759E47F1-2102-D14D-B946-BF6EDB3FDA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35360" y="270433"/>
            <a:ext cx="2884069" cy="1859131"/>
          </a:xfrm>
          <a:prstGeom prst="rect">
            <a:avLst/>
          </a:prstGeom>
        </p:spPr>
      </p:pic>
    </p:spTree>
    <p:extLst>
      <p:ext uri="{BB962C8B-B14F-4D97-AF65-F5344CB8AC3E}">
        <p14:creationId xmlns:p14="http://schemas.microsoft.com/office/powerpoint/2010/main" val="37490598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D53BC2C-4AC5-50F3-A488-B1B757703127}"/>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076A6C96-21BC-691C-CD91-689FB143B22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AE7449C-5CE5-924C-05AB-8397876E4DFD}"/>
              </a:ext>
            </a:extLst>
          </p:cNvPr>
          <p:cNvSpPr>
            <a:spLocks noGrp="1"/>
          </p:cNvSpPr>
          <p:nvPr>
            <p:ph type="dt" sz="half" idx="10"/>
          </p:nvPr>
        </p:nvSpPr>
        <p:spPr/>
        <p:txBody>
          <a:bodyPr/>
          <a:lstStyle/>
          <a:p>
            <a:fld id="{9E0B99F0-0FDB-4E54-BFFB-CCEB1DFB2459}" type="datetimeFigureOut">
              <a:rPr lang="fr-FR" smtClean="0"/>
              <a:t>30/03/2025</a:t>
            </a:fld>
            <a:endParaRPr lang="fr-FR"/>
          </a:p>
        </p:txBody>
      </p:sp>
      <p:sp>
        <p:nvSpPr>
          <p:cNvPr id="5" name="Espace réservé du pied de page 4">
            <a:extLst>
              <a:ext uri="{FF2B5EF4-FFF2-40B4-BE49-F238E27FC236}">
                <a16:creationId xmlns:a16="http://schemas.microsoft.com/office/drawing/2014/main" id="{09F60826-67BA-3C17-09C8-9C34BF636A4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6AF2E2EB-5E55-6B27-5935-FF69ADA1123B}"/>
              </a:ext>
            </a:extLst>
          </p:cNvPr>
          <p:cNvSpPr>
            <a:spLocks noGrp="1"/>
          </p:cNvSpPr>
          <p:nvPr>
            <p:ph type="sldNum" sz="quarter" idx="12"/>
          </p:nvPr>
        </p:nvSpPr>
        <p:spPr/>
        <p:txBody>
          <a:bodyPr/>
          <a:lstStyle/>
          <a:p>
            <a:fld id="{49CF02E1-0700-4211-9D41-F3C2B6DBFA1E}" type="slidenum">
              <a:rPr lang="fr-FR" smtClean="0"/>
              <a:t>‹N°›</a:t>
            </a:fld>
            <a:endParaRPr lang="fr-FR"/>
          </a:p>
        </p:txBody>
      </p:sp>
    </p:spTree>
    <p:extLst>
      <p:ext uri="{BB962C8B-B14F-4D97-AF65-F5344CB8AC3E}">
        <p14:creationId xmlns:p14="http://schemas.microsoft.com/office/powerpoint/2010/main" val="15563166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984000"/>
            <a:ext cx="12192000" cy="5925277"/>
          </a:xfrm>
          <a:solidFill>
            <a:schemeClr val="tx2"/>
          </a:solidFill>
        </p:spPr>
        <p:txBody>
          <a:bodyPr tIns="1080000" anchor="ctr" anchorCtr="0"/>
          <a:lstStyle>
            <a:lvl1pPr algn="ctr">
              <a:defRPr cap="all" baseline="0">
                <a:solidFill>
                  <a:schemeClr val="bg1"/>
                </a:solidFill>
              </a:defRPr>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485713" y="6396842"/>
            <a:ext cx="1560000" cy="461159"/>
          </a:xfrm>
          <a:prstGeom prst="rect">
            <a:avLst/>
          </a:prstGeom>
        </p:spPr>
        <p:txBody>
          <a:bodyPr vert="horz" lIns="0" tIns="0" rIns="0" bIns="0" rtlCol="0" anchor="ctr" anchorCtr="0">
            <a:noAutofit/>
          </a:bodyPr>
          <a:lstStyle>
            <a:lvl1pPr algn="l">
              <a:defRPr sz="1000" b="1">
                <a:solidFill>
                  <a:schemeClr val="bg1"/>
                </a:solidFill>
              </a:defRPr>
            </a:lvl1pPr>
          </a:lstStyle>
          <a:p>
            <a:fld id="{741CC369-8177-442D-BF7D-7B1A0225DB81}" type="datetime1">
              <a:rPr lang="fr-FR" cap="all" smtClean="0"/>
              <a:t>30/03/2025</a:t>
            </a:fld>
            <a:endParaRPr lang="fr-FR" cap="all" dirty="0"/>
          </a:p>
        </p:txBody>
      </p:sp>
      <p:sp>
        <p:nvSpPr>
          <p:cNvPr id="2" name="Titre 1"/>
          <p:cNvSpPr>
            <a:spLocks noGrp="1"/>
          </p:cNvSpPr>
          <p:nvPr>
            <p:ph type="title" hasCustomPrompt="1"/>
          </p:nvPr>
        </p:nvSpPr>
        <p:spPr bwMode="gray">
          <a:xfrm>
            <a:off x="479999" y="984000"/>
            <a:ext cx="11232000" cy="53952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tx2"/>
            </a:solidFill>
          </a:ln>
        </p:spPr>
        <p:txBody>
          <a:bodyPr lIns="0" bIns="360000" anchor="ctr" anchorCtr="0"/>
          <a:lstStyle>
            <a:lvl1pPr marL="0" indent="0">
              <a:buFont typeface="+mj-lt"/>
              <a:buNone/>
              <a:defRPr sz="4333">
                <a:solidFill>
                  <a:schemeClr val="bg1"/>
                </a:solidFill>
              </a:defRPr>
            </a:lvl1pPr>
          </a:lstStyle>
          <a:p>
            <a:r>
              <a:rPr lang="fr-FR" dirty="0"/>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9864951" y="6378000"/>
            <a:ext cx="1800000" cy="480000"/>
          </a:xfrm>
          <a:prstGeom prst="rect">
            <a:avLst/>
          </a:prstGeom>
        </p:spPr>
        <p:txBody>
          <a:bodyPr vert="horz" lIns="0" tIns="0" rIns="0" bIns="0" rtlCol="0" anchor="ctr" anchorCtr="0">
            <a:noAutofit/>
          </a:bodyPr>
          <a:lstStyle>
            <a:lvl1pPr algn="r">
              <a:defRPr sz="1000" b="1">
                <a:solidFill>
                  <a:schemeClr val="bg1"/>
                </a:solidFill>
              </a:defRPr>
            </a:lvl1pPr>
          </a:lstStyle>
          <a:p>
            <a:fld id="{733122C9-A0B9-462F-8757-0847AD287B63}" type="slidenum">
              <a:rPr lang="fr-FR" smtClean="0"/>
              <a:pPr/>
              <a:t>‹N°›</a:t>
            </a:fld>
            <a:endParaRPr lang="fr-FR" dirty="0"/>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Tree>
    <p:extLst>
      <p:ext uri="{BB962C8B-B14F-4D97-AF65-F5344CB8AC3E}">
        <p14:creationId xmlns:p14="http://schemas.microsoft.com/office/powerpoint/2010/main" val="26243785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661800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fld id="{E832A624-71B0-418F-9052-F883CFB5C47B}" type="datetime1">
              <a:rPr lang="fr-FR" smtClean="0"/>
              <a:t>30/03/2025</a:t>
            </a:fld>
            <a:endParaRPr lang="fr-FR" dirty="0"/>
          </a:p>
        </p:txBody>
      </p:sp>
      <p:sp>
        <p:nvSpPr>
          <p:cNvPr id="5" name="Espace réservé du pied de page 4"/>
          <p:cNvSpPr>
            <a:spLocks noGrp="1"/>
          </p:cNvSpPr>
          <p:nvPr>
            <p:ph type="ftr" sz="quarter" idx="11"/>
          </p:nvPr>
        </p:nvSpPr>
        <p:spPr bwMode="gray">
          <a:xfrm>
            <a:off x="431800" y="5460769"/>
            <a:ext cx="4320000" cy="597263"/>
          </a:xfrm>
        </p:spPr>
        <p:txBody>
          <a:bodyPr anchor="ctr" anchorCtr="0"/>
          <a:lstStyle>
            <a:lvl1pPr algn="l">
              <a:defRPr sz="1533"/>
            </a:lvl1pPr>
          </a:lstStyle>
          <a:p>
            <a:endParaRPr lang="fr-FR" dirty="0"/>
          </a:p>
        </p:txBody>
      </p:sp>
      <p:sp>
        <p:nvSpPr>
          <p:cNvPr id="6" name="Espace réservé du numéro de diapositive 5"/>
          <p:cNvSpPr>
            <a:spLocks noGrp="1"/>
          </p:cNvSpPr>
          <p:nvPr>
            <p:ph type="sldNum" sz="quarter" idx="12"/>
          </p:nvPr>
        </p:nvSpPr>
        <p:spPr bwMode="gray">
          <a:xfrm>
            <a:off x="0" y="6618000"/>
            <a:ext cx="240000" cy="240000"/>
          </a:xfrm>
          <a:ln>
            <a:solidFill>
              <a:schemeClr val="tx1">
                <a:alpha val="0"/>
              </a:schemeClr>
            </a:solidFill>
          </a:ln>
        </p:spPr>
        <p:txBody>
          <a:bodyPr/>
          <a:lstStyle>
            <a:lvl1pPr>
              <a:defRPr sz="133">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240000" cy="240000"/>
          </a:xfrm>
          <a:prstGeom prst="rect">
            <a:avLst/>
          </a:prstGeom>
          <a:ln>
            <a:solidFill>
              <a:schemeClr val="tx1">
                <a:alpha val="0"/>
              </a:schemeClr>
            </a:solidFill>
          </a:ln>
        </p:spPr>
        <p:txBody>
          <a:bodyPr/>
          <a:lstStyle>
            <a:lvl1pPr>
              <a:defRPr sz="133">
                <a:solidFill>
                  <a:schemeClr val="tx1">
                    <a:alpha val="0"/>
                  </a:schemeClr>
                </a:solidFill>
              </a:defRPr>
            </a:lvl1pPr>
          </a:lstStyle>
          <a:p>
            <a:r>
              <a:rPr lang="fr-FR" dirty="0"/>
              <a:t>Titre</a:t>
            </a:r>
          </a:p>
        </p:txBody>
      </p:sp>
      <p:pic>
        <p:nvPicPr>
          <p:cNvPr id="8" name="Image 7">
            <a:extLst>
              <a:ext uri="{FF2B5EF4-FFF2-40B4-BE49-F238E27FC236}">
                <a16:creationId xmlns:a16="http://schemas.microsoft.com/office/drawing/2014/main" id="{8F927FF3-1B2D-5244-B021-F0D282DFE5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240907" y="303601"/>
            <a:ext cx="3052299" cy="1967575"/>
          </a:xfrm>
          <a:prstGeom prst="rect">
            <a:avLst/>
          </a:prstGeom>
        </p:spPr>
      </p:pic>
      <p:sp>
        <p:nvSpPr>
          <p:cNvPr id="9" name="Espace réservé du titre 11">
            <a:extLst>
              <a:ext uri="{FF2B5EF4-FFF2-40B4-BE49-F238E27FC236}">
                <a16:creationId xmlns:a16="http://schemas.microsoft.com/office/drawing/2014/main" id="{59FB2B3E-557E-DB42-9DB7-D6A72FD3ABE4}"/>
              </a:ext>
            </a:extLst>
          </p:cNvPr>
          <p:cNvSpPr txBox="1">
            <a:spLocks/>
          </p:cNvSpPr>
          <p:nvPr userDrawn="1"/>
        </p:nvSpPr>
        <p:spPr>
          <a:xfrm>
            <a:off x="958850" y="3717033"/>
            <a:ext cx="10705769" cy="1498033"/>
          </a:xfrm>
          <a:prstGeom prst="rect">
            <a:avLst/>
          </a:prstGeom>
        </p:spPr>
        <p:txBody>
          <a:bodyPr vert="horz" lIns="121920" tIns="60960" rIns="121920" bIns="60960" rtlCol="0" anchor="ctr">
            <a:normAutofit/>
          </a:bodyPr>
          <a:lstStyle>
            <a:lvl1pPr marL="14288" indent="0" algn="l" defTabSz="914400" rtl="0" eaLnBrk="1" latinLnBrk="0" hangingPunct="1">
              <a:lnSpc>
                <a:spcPct val="90000"/>
              </a:lnSpc>
              <a:spcBef>
                <a:spcPct val="0"/>
              </a:spcBef>
              <a:buNone/>
              <a:tabLst/>
              <a:defRPr sz="2500" b="1" kern="1200">
                <a:solidFill>
                  <a:schemeClr val="tx1"/>
                </a:solidFill>
                <a:latin typeface="Marianne" charset="0"/>
                <a:ea typeface="Marianne" charset="0"/>
                <a:cs typeface="Marianne" charset="0"/>
              </a:defRPr>
            </a:lvl1pPr>
          </a:lstStyle>
          <a:p>
            <a:r>
              <a:rPr lang="fr-FR" sz="3333" dirty="0"/>
              <a:t> </a:t>
            </a:r>
          </a:p>
        </p:txBody>
      </p:sp>
      <p:cxnSp>
        <p:nvCxnSpPr>
          <p:cNvPr id="14" name="Connecteur droit 13"/>
          <p:cNvCxnSpPr/>
          <p:nvPr userDrawn="1"/>
        </p:nvCxnSpPr>
        <p:spPr>
          <a:xfrm>
            <a:off x="431800" y="6309320"/>
            <a:ext cx="11424840" cy="0"/>
          </a:xfrm>
          <a:prstGeom prst="line">
            <a:avLst/>
          </a:prstGeom>
          <a:ln w="12700">
            <a:solidFill>
              <a:srgbClr val="484D7A"/>
            </a:solidFill>
          </a:ln>
        </p:spPr>
        <p:style>
          <a:lnRef idx="1">
            <a:schemeClr val="accent1"/>
          </a:lnRef>
          <a:fillRef idx="0">
            <a:schemeClr val="accent1"/>
          </a:fillRef>
          <a:effectRef idx="0">
            <a:schemeClr val="accent1"/>
          </a:effectRef>
          <a:fontRef idx="minor">
            <a:schemeClr val="tx1"/>
          </a:fontRef>
        </p:style>
      </p:cxnSp>
      <p:cxnSp>
        <p:nvCxnSpPr>
          <p:cNvPr id="15" name="Connecteur droit 14"/>
          <p:cNvCxnSpPr/>
          <p:nvPr userDrawn="1"/>
        </p:nvCxnSpPr>
        <p:spPr>
          <a:xfrm>
            <a:off x="420938" y="6421017"/>
            <a:ext cx="11339692" cy="0"/>
          </a:xfrm>
          <a:prstGeom prst="line">
            <a:avLst/>
          </a:prstGeom>
          <a:ln w="12700">
            <a:solidFill>
              <a:srgbClr val="F48F70"/>
            </a:solidFill>
          </a:ln>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userDrawn="1"/>
        </p:nvCxnSpPr>
        <p:spPr>
          <a:xfrm flipV="1">
            <a:off x="11856640" y="3717032"/>
            <a:ext cx="0" cy="2592288"/>
          </a:xfrm>
          <a:prstGeom prst="line">
            <a:avLst/>
          </a:prstGeom>
          <a:ln w="12700">
            <a:solidFill>
              <a:srgbClr val="484D7A"/>
            </a:solidFill>
          </a:ln>
        </p:spPr>
        <p:style>
          <a:lnRef idx="1">
            <a:schemeClr val="accent1"/>
          </a:lnRef>
          <a:fillRef idx="0">
            <a:schemeClr val="accent1"/>
          </a:fillRef>
          <a:effectRef idx="0">
            <a:schemeClr val="accent1"/>
          </a:effectRef>
          <a:fontRef idx="minor">
            <a:schemeClr val="tx1"/>
          </a:fontRef>
        </p:style>
      </p:cxnSp>
      <p:cxnSp>
        <p:nvCxnSpPr>
          <p:cNvPr id="17" name="Connecteur droit 16"/>
          <p:cNvCxnSpPr/>
          <p:nvPr userDrawn="1"/>
        </p:nvCxnSpPr>
        <p:spPr>
          <a:xfrm flipV="1">
            <a:off x="11760629" y="3044958"/>
            <a:ext cx="0" cy="3376061"/>
          </a:xfrm>
          <a:prstGeom prst="line">
            <a:avLst/>
          </a:prstGeom>
          <a:ln w="12700">
            <a:solidFill>
              <a:srgbClr val="F48F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3454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lid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A115DAA0-BF86-4551-94D3-33E92DF3C922}" type="datetime1">
              <a:rPr lang="fr-FR" cap="all" smtClean="0"/>
              <a:t>30/03/2025</a:t>
            </a:fld>
            <a:endParaRPr lang="fr-FR" cap="all" dirty="0"/>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6"/>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dirty="0"/>
              <a:t>Sous-titre</a:t>
            </a:r>
          </a:p>
          <a:p>
            <a:pPr lvl="0"/>
            <a:endParaRPr lang="fr-FR"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dirty="0"/>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endParaRPr lang="fr-FR" dirty="0"/>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8777995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24104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35CE309-5697-4F1A-BCFC-F45D6941D617}"/>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F7412069-7A51-4F22-A874-B919C9689584}"/>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3C43BC66-0332-4A4A-B354-6BFB57FE4A74}"/>
              </a:ext>
            </a:extLst>
          </p:cNvPr>
          <p:cNvSpPr>
            <a:spLocks noGrp="1"/>
          </p:cNvSpPr>
          <p:nvPr>
            <p:ph type="dt" sz="half" idx="10"/>
          </p:nvPr>
        </p:nvSpPr>
        <p:spPr/>
        <p:txBody>
          <a:bodyPr/>
          <a:lstStyle/>
          <a:p>
            <a:fld id="{0488DD6F-60B7-491D-9204-C4540610422F}" type="datetime1">
              <a:rPr lang="fr-FR" smtClean="0"/>
              <a:t>30/03/2025</a:t>
            </a:fld>
            <a:endParaRPr lang="fr-FR"/>
          </a:p>
        </p:txBody>
      </p:sp>
      <p:sp>
        <p:nvSpPr>
          <p:cNvPr id="5" name="Espace réservé du pied de page 4">
            <a:extLst>
              <a:ext uri="{FF2B5EF4-FFF2-40B4-BE49-F238E27FC236}">
                <a16:creationId xmlns:a16="http://schemas.microsoft.com/office/drawing/2014/main" id="{EE1853E0-3945-4714-8A62-852193D5750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171CFAD-A8FA-4F7F-AE80-4AD63F563411}"/>
              </a:ext>
            </a:extLst>
          </p:cNvPr>
          <p:cNvSpPr>
            <a:spLocks noGrp="1"/>
          </p:cNvSpPr>
          <p:nvPr>
            <p:ph type="sldNum" sz="quarter" idx="12"/>
          </p:nvPr>
        </p:nvSpPr>
        <p:spPr/>
        <p:txBody>
          <a:bodyPr/>
          <a:lstStyle/>
          <a:p>
            <a:fld id="{9CC89C03-0C7C-4A41-AD81-9335F7231C5E}" type="slidenum">
              <a:rPr lang="fr-FR" smtClean="0"/>
              <a:t>‹N°›</a:t>
            </a:fld>
            <a:endParaRPr lang="fr-FR"/>
          </a:p>
        </p:txBody>
      </p:sp>
    </p:spTree>
    <p:extLst>
      <p:ext uri="{BB962C8B-B14F-4D97-AF65-F5344CB8AC3E}">
        <p14:creationId xmlns:p14="http://schemas.microsoft.com/office/powerpoint/2010/main" val="30162293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PhAnim="0" userDrawn="1">
  <p:cSld name="Title Only">
    <p:spTree>
      <p:nvGrpSpPr>
        <p:cNvPr id="1" name=""/>
        <p:cNvGrpSpPr/>
        <p:nvPr/>
      </p:nvGrpSpPr>
      <p:grpSpPr bwMode="auto">
        <a:xfrm>
          <a:off x="0" y="0"/>
          <a:ext cx="0" cy="0"/>
          <a:chOff x="0" y="0"/>
          <a:chExt cx="0" cy="0"/>
        </a:xfrm>
      </p:grpSpPr>
      <p:graphicFrame>
        <p:nvGraphicFramePr>
          <p:cNvPr id="3" name="Objet 2"/>
          <p:cNvGraphicFramePr>
            <a:graphicFrameLocks noChangeAspect="1"/>
          </p:cNvGraphicFramePr>
          <p:nvPr/>
        </p:nvGraphicFramePr>
        <p:xfrm>
          <a:off x="2162" y="1623"/>
          <a:ext cx="2157" cy="1619"/>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3" name="Objet 2"/>
                      <p:cNvPicPr/>
                      <p:nvPr/>
                    </p:nvPicPr>
                    <p:blipFill>
                      <a:blip r:embed="rId3"/>
                      <a:stretch/>
                    </p:blipFill>
                    <p:spPr bwMode="auto">
                      <a:xfrm>
                        <a:off x="2162" y="1623"/>
                        <a:ext cx="2157" cy="1619"/>
                      </a:xfrm>
                      <a:prstGeom prst="rect">
                        <a:avLst/>
                      </a:prstGeom>
                    </p:spPr>
                  </p:pic>
                </p:oleObj>
              </mc:Fallback>
            </mc:AlternateContent>
          </a:graphicData>
        </a:graphic>
      </p:graphicFrame>
      <p:sp>
        <p:nvSpPr>
          <p:cNvPr id="2" name="2. Slide Title"/>
          <p:cNvSpPr>
            <a:spLocks noGrp="1"/>
          </p:cNvSpPr>
          <p:nvPr>
            <p:ph type="title"/>
          </p:nvPr>
        </p:nvSpPr>
        <p:spPr bwMode="auto">
          <a:xfrm>
            <a:off x="1230578" y="234865"/>
            <a:ext cx="10656893" cy="392536"/>
          </a:xfrm>
        </p:spPr>
        <p:txBody>
          <a:bodyPr/>
          <a:lstStyle>
            <a:lvl1pPr>
              <a:defRPr sz="2533">
                <a:solidFill>
                  <a:schemeClr val="tx1"/>
                </a:solidFill>
              </a:defRPr>
            </a:lvl1pPr>
          </a:lstStyle>
          <a:p>
            <a:pPr>
              <a:defRPr/>
            </a:pPr>
            <a:r>
              <a:rPr lang="en-US"/>
              <a:t>Click to edit Master title style</a:t>
            </a:r>
            <a:endParaRPr/>
          </a:p>
        </p:txBody>
      </p:sp>
      <p:sp>
        <p:nvSpPr>
          <p:cNvPr id="8" name="Slide Number"/>
          <p:cNvSpPr txBox="1"/>
          <p:nvPr userDrawn="1"/>
        </p:nvSpPr>
        <p:spPr bwMode="auto">
          <a:xfrm>
            <a:off x="11543167" y="6537394"/>
            <a:ext cx="243656" cy="164212"/>
          </a:xfrm>
          <a:prstGeom prst="rect">
            <a:avLst/>
          </a:prstGeom>
        </p:spPr>
        <p:txBody>
          <a:bodyPr vert="horz" wrap="none" lIns="0" tIns="0" rIns="0" bIns="0" rtlCol="0" anchor="ctr">
            <a:spAutoFit/>
          </a:bodyPr>
          <a:lstStyle>
            <a:defPPr>
              <a:defRPr/>
            </a:defPPr>
            <a:lvl1pPr>
              <a:defRPr sz="1000">
                <a:latin typeface="+mn-lt"/>
              </a:defRPr>
            </a:lvl1pPr>
          </a:lstStyle>
          <a:p>
            <a:pPr algn="r">
              <a:spcBef>
                <a:spcPts val="0"/>
              </a:spcBef>
              <a:spcAft>
                <a:spcPts val="0"/>
              </a:spcAft>
              <a:defRPr/>
            </a:pPr>
            <a:fld id="{42C328C1-A84F-4A39-A664-DBA00541A8C6}" type="slidenum">
              <a:rPr sz="1067">
                <a:solidFill>
                  <a:srgbClr val="000000"/>
                </a:solidFill>
              </a:rPr>
              <a:pPr algn="r">
                <a:spcBef>
                  <a:spcPts val="0"/>
                </a:spcBef>
                <a:spcAft>
                  <a:spcPts val="0"/>
                </a:spcAft>
                <a:defRPr/>
              </a:pPr>
              <a:t>‹N°›</a:t>
            </a:fld>
            <a:endParaRPr sz="1067">
              <a:solidFill>
                <a:srgbClr val="000000"/>
              </a:solidFill>
            </a:endParaRPr>
          </a:p>
        </p:txBody>
      </p:sp>
    </p:spTree>
    <p:extLst>
      <p:ext uri="{BB962C8B-B14F-4D97-AF65-F5344CB8AC3E}">
        <p14:creationId xmlns:p14="http://schemas.microsoft.com/office/powerpoint/2010/main" val="13039415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297314-FDD6-ADEB-F7A7-97F83AE1C21A}"/>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4C2AD7C1-67A6-6C9D-DEEC-45B818A65F9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95C5708A-0961-B021-CAF9-F5A40405F2DB}"/>
              </a:ext>
            </a:extLst>
          </p:cNvPr>
          <p:cNvSpPr>
            <a:spLocks noGrp="1"/>
          </p:cNvSpPr>
          <p:nvPr>
            <p:ph type="dt" sz="half" idx="10"/>
          </p:nvPr>
        </p:nvSpPr>
        <p:spPr/>
        <p:txBody>
          <a:bodyPr/>
          <a:lstStyle/>
          <a:p>
            <a:fld id="{9E0B99F0-0FDB-4E54-BFFB-CCEB1DFB2459}" type="datetimeFigureOut">
              <a:rPr lang="fr-FR" smtClean="0"/>
              <a:t>30/03/2025</a:t>
            </a:fld>
            <a:endParaRPr lang="fr-FR"/>
          </a:p>
        </p:txBody>
      </p:sp>
      <p:sp>
        <p:nvSpPr>
          <p:cNvPr id="5" name="Espace réservé du pied de page 4">
            <a:extLst>
              <a:ext uri="{FF2B5EF4-FFF2-40B4-BE49-F238E27FC236}">
                <a16:creationId xmlns:a16="http://schemas.microsoft.com/office/drawing/2014/main" id="{386E4EF1-1BA2-0A71-5943-3F71E71AB5A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4523863-EC0B-6866-FD9F-28734E4977E1}"/>
              </a:ext>
            </a:extLst>
          </p:cNvPr>
          <p:cNvSpPr>
            <a:spLocks noGrp="1"/>
          </p:cNvSpPr>
          <p:nvPr>
            <p:ph type="sldNum" sz="quarter" idx="12"/>
          </p:nvPr>
        </p:nvSpPr>
        <p:spPr/>
        <p:txBody>
          <a:bodyPr/>
          <a:lstStyle/>
          <a:p>
            <a:fld id="{49CF02E1-0700-4211-9D41-F3C2B6DBFA1E}" type="slidenum">
              <a:rPr lang="fr-FR" smtClean="0"/>
              <a:t>‹N°›</a:t>
            </a:fld>
            <a:endParaRPr lang="fr-FR"/>
          </a:p>
        </p:txBody>
      </p:sp>
    </p:spTree>
    <p:extLst>
      <p:ext uri="{BB962C8B-B14F-4D97-AF65-F5344CB8AC3E}">
        <p14:creationId xmlns:p14="http://schemas.microsoft.com/office/powerpoint/2010/main" val="2547505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F8919D-7153-A21A-A229-232A267D9DE6}"/>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0E60F360-3431-CA9B-8050-9E1F01BDE30A}"/>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296E7645-E4A8-B08D-F424-45F6F5B5F1A8}"/>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74E37211-441C-BE54-5000-03699DBDA640}"/>
              </a:ext>
            </a:extLst>
          </p:cNvPr>
          <p:cNvSpPr>
            <a:spLocks noGrp="1"/>
          </p:cNvSpPr>
          <p:nvPr>
            <p:ph type="dt" sz="half" idx="10"/>
          </p:nvPr>
        </p:nvSpPr>
        <p:spPr/>
        <p:txBody>
          <a:bodyPr/>
          <a:lstStyle/>
          <a:p>
            <a:fld id="{9E0B99F0-0FDB-4E54-BFFB-CCEB1DFB2459}" type="datetimeFigureOut">
              <a:rPr lang="fr-FR" smtClean="0"/>
              <a:t>30/03/2025</a:t>
            </a:fld>
            <a:endParaRPr lang="fr-FR"/>
          </a:p>
        </p:txBody>
      </p:sp>
      <p:sp>
        <p:nvSpPr>
          <p:cNvPr id="6" name="Espace réservé du pied de page 5">
            <a:extLst>
              <a:ext uri="{FF2B5EF4-FFF2-40B4-BE49-F238E27FC236}">
                <a16:creationId xmlns:a16="http://schemas.microsoft.com/office/drawing/2014/main" id="{9F210102-42DD-538D-73E9-E7D4B9C9691A}"/>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83B29DE2-FF58-4AB7-E758-FF3F52AAE60B}"/>
              </a:ext>
            </a:extLst>
          </p:cNvPr>
          <p:cNvSpPr>
            <a:spLocks noGrp="1"/>
          </p:cNvSpPr>
          <p:nvPr>
            <p:ph type="sldNum" sz="quarter" idx="12"/>
          </p:nvPr>
        </p:nvSpPr>
        <p:spPr/>
        <p:txBody>
          <a:bodyPr/>
          <a:lstStyle/>
          <a:p>
            <a:fld id="{49CF02E1-0700-4211-9D41-F3C2B6DBFA1E}" type="slidenum">
              <a:rPr lang="fr-FR" smtClean="0"/>
              <a:t>‹N°›</a:t>
            </a:fld>
            <a:endParaRPr lang="fr-FR"/>
          </a:p>
        </p:txBody>
      </p:sp>
    </p:spTree>
    <p:extLst>
      <p:ext uri="{BB962C8B-B14F-4D97-AF65-F5344CB8AC3E}">
        <p14:creationId xmlns:p14="http://schemas.microsoft.com/office/powerpoint/2010/main" val="2748503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FF3925-1A4A-38D1-DBF4-F6547E914042}"/>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D4250359-2B9C-E377-A32B-7A1790FBB8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F3BE1FF1-7ADB-6BA9-47BA-1B5317E6B229}"/>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6B11C73D-0235-F98B-C0C3-C9BC4785196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E34E71F2-8B6B-E7A4-F827-4AC24EDD33F5}"/>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8229A1EF-03F7-6C07-059E-7AB4C0FE5B0A}"/>
              </a:ext>
            </a:extLst>
          </p:cNvPr>
          <p:cNvSpPr>
            <a:spLocks noGrp="1"/>
          </p:cNvSpPr>
          <p:nvPr>
            <p:ph type="dt" sz="half" idx="10"/>
          </p:nvPr>
        </p:nvSpPr>
        <p:spPr/>
        <p:txBody>
          <a:bodyPr/>
          <a:lstStyle/>
          <a:p>
            <a:fld id="{9E0B99F0-0FDB-4E54-BFFB-CCEB1DFB2459}" type="datetimeFigureOut">
              <a:rPr lang="fr-FR" smtClean="0"/>
              <a:t>30/03/2025</a:t>
            </a:fld>
            <a:endParaRPr lang="fr-FR"/>
          </a:p>
        </p:txBody>
      </p:sp>
      <p:sp>
        <p:nvSpPr>
          <p:cNvPr id="8" name="Espace réservé du pied de page 7">
            <a:extLst>
              <a:ext uri="{FF2B5EF4-FFF2-40B4-BE49-F238E27FC236}">
                <a16:creationId xmlns:a16="http://schemas.microsoft.com/office/drawing/2014/main" id="{0D7DA6C6-77BF-AEC0-4897-E6470351F882}"/>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4BBBF898-4296-BC7F-FA1D-E220E6E09360}"/>
              </a:ext>
            </a:extLst>
          </p:cNvPr>
          <p:cNvSpPr>
            <a:spLocks noGrp="1"/>
          </p:cNvSpPr>
          <p:nvPr>
            <p:ph type="sldNum" sz="quarter" idx="12"/>
          </p:nvPr>
        </p:nvSpPr>
        <p:spPr/>
        <p:txBody>
          <a:bodyPr/>
          <a:lstStyle/>
          <a:p>
            <a:fld id="{49CF02E1-0700-4211-9D41-F3C2B6DBFA1E}" type="slidenum">
              <a:rPr lang="fr-FR" smtClean="0"/>
              <a:t>‹N°›</a:t>
            </a:fld>
            <a:endParaRPr lang="fr-FR"/>
          </a:p>
        </p:txBody>
      </p:sp>
    </p:spTree>
    <p:extLst>
      <p:ext uri="{BB962C8B-B14F-4D97-AF65-F5344CB8AC3E}">
        <p14:creationId xmlns:p14="http://schemas.microsoft.com/office/powerpoint/2010/main" val="2359432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FD725FA-B76C-FC3E-6EC1-B4DACDDF7F8A}"/>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45F85D82-7335-B3B3-42A7-66845748B387}"/>
              </a:ext>
            </a:extLst>
          </p:cNvPr>
          <p:cNvSpPr>
            <a:spLocks noGrp="1"/>
          </p:cNvSpPr>
          <p:nvPr>
            <p:ph type="dt" sz="half" idx="10"/>
          </p:nvPr>
        </p:nvSpPr>
        <p:spPr/>
        <p:txBody>
          <a:bodyPr/>
          <a:lstStyle/>
          <a:p>
            <a:fld id="{9E0B99F0-0FDB-4E54-BFFB-CCEB1DFB2459}" type="datetimeFigureOut">
              <a:rPr lang="fr-FR" smtClean="0"/>
              <a:t>30/03/2025</a:t>
            </a:fld>
            <a:endParaRPr lang="fr-FR"/>
          </a:p>
        </p:txBody>
      </p:sp>
      <p:sp>
        <p:nvSpPr>
          <p:cNvPr id="4" name="Espace réservé du pied de page 3">
            <a:extLst>
              <a:ext uri="{FF2B5EF4-FFF2-40B4-BE49-F238E27FC236}">
                <a16:creationId xmlns:a16="http://schemas.microsoft.com/office/drawing/2014/main" id="{E68F1B66-19B2-37FC-FD78-131B36D38F44}"/>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F5A04DE8-8BBE-93B0-4631-411EB1D1C327}"/>
              </a:ext>
            </a:extLst>
          </p:cNvPr>
          <p:cNvSpPr>
            <a:spLocks noGrp="1"/>
          </p:cNvSpPr>
          <p:nvPr>
            <p:ph type="sldNum" sz="quarter" idx="12"/>
          </p:nvPr>
        </p:nvSpPr>
        <p:spPr/>
        <p:txBody>
          <a:bodyPr/>
          <a:lstStyle/>
          <a:p>
            <a:fld id="{49CF02E1-0700-4211-9D41-F3C2B6DBFA1E}" type="slidenum">
              <a:rPr lang="fr-FR" smtClean="0"/>
              <a:t>‹N°›</a:t>
            </a:fld>
            <a:endParaRPr lang="fr-FR"/>
          </a:p>
        </p:txBody>
      </p:sp>
    </p:spTree>
    <p:extLst>
      <p:ext uri="{BB962C8B-B14F-4D97-AF65-F5344CB8AC3E}">
        <p14:creationId xmlns:p14="http://schemas.microsoft.com/office/powerpoint/2010/main" val="16047740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FD1D5DCA-170F-1639-A356-E51C77591532}"/>
              </a:ext>
            </a:extLst>
          </p:cNvPr>
          <p:cNvSpPr>
            <a:spLocks noGrp="1"/>
          </p:cNvSpPr>
          <p:nvPr>
            <p:ph type="dt" sz="half" idx="10"/>
          </p:nvPr>
        </p:nvSpPr>
        <p:spPr/>
        <p:txBody>
          <a:bodyPr/>
          <a:lstStyle/>
          <a:p>
            <a:fld id="{9E0B99F0-0FDB-4E54-BFFB-CCEB1DFB2459}" type="datetimeFigureOut">
              <a:rPr lang="fr-FR" smtClean="0"/>
              <a:t>30/03/2025</a:t>
            </a:fld>
            <a:endParaRPr lang="fr-FR"/>
          </a:p>
        </p:txBody>
      </p:sp>
      <p:sp>
        <p:nvSpPr>
          <p:cNvPr id="3" name="Espace réservé du pied de page 2">
            <a:extLst>
              <a:ext uri="{FF2B5EF4-FFF2-40B4-BE49-F238E27FC236}">
                <a16:creationId xmlns:a16="http://schemas.microsoft.com/office/drawing/2014/main" id="{4A3D6067-100E-E84F-DA54-926C7627FF0B}"/>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C408ECBE-2D88-9B49-DB0C-8A12B500669E}"/>
              </a:ext>
            </a:extLst>
          </p:cNvPr>
          <p:cNvSpPr>
            <a:spLocks noGrp="1"/>
          </p:cNvSpPr>
          <p:nvPr>
            <p:ph type="sldNum" sz="quarter" idx="12"/>
          </p:nvPr>
        </p:nvSpPr>
        <p:spPr/>
        <p:txBody>
          <a:bodyPr/>
          <a:lstStyle/>
          <a:p>
            <a:fld id="{49CF02E1-0700-4211-9D41-F3C2B6DBFA1E}" type="slidenum">
              <a:rPr lang="fr-FR" smtClean="0"/>
              <a:t>‹N°›</a:t>
            </a:fld>
            <a:endParaRPr lang="fr-FR"/>
          </a:p>
        </p:txBody>
      </p:sp>
    </p:spTree>
    <p:extLst>
      <p:ext uri="{BB962C8B-B14F-4D97-AF65-F5344CB8AC3E}">
        <p14:creationId xmlns:p14="http://schemas.microsoft.com/office/powerpoint/2010/main" val="908234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4756D88-7F67-3716-402B-8DFF91E038A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68AD4A11-5A4F-333F-CA9A-B02090D1684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8602A63E-7138-40F6-FB1A-139DF3926F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9D75D318-8887-CFF0-6CA5-D0E1AEA4A42D}"/>
              </a:ext>
            </a:extLst>
          </p:cNvPr>
          <p:cNvSpPr>
            <a:spLocks noGrp="1"/>
          </p:cNvSpPr>
          <p:nvPr>
            <p:ph type="dt" sz="half" idx="10"/>
          </p:nvPr>
        </p:nvSpPr>
        <p:spPr/>
        <p:txBody>
          <a:bodyPr/>
          <a:lstStyle/>
          <a:p>
            <a:fld id="{9E0B99F0-0FDB-4E54-BFFB-CCEB1DFB2459}" type="datetimeFigureOut">
              <a:rPr lang="fr-FR" smtClean="0"/>
              <a:t>30/03/2025</a:t>
            </a:fld>
            <a:endParaRPr lang="fr-FR"/>
          </a:p>
        </p:txBody>
      </p:sp>
      <p:sp>
        <p:nvSpPr>
          <p:cNvPr id="6" name="Espace réservé du pied de page 5">
            <a:extLst>
              <a:ext uri="{FF2B5EF4-FFF2-40B4-BE49-F238E27FC236}">
                <a16:creationId xmlns:a16="http://schemas.microsoft.com/office/drawing/2014/main" id="{7450124B-A7E9-573D-248B-AD5F9BF93AC4}"/>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DA6968D-512E-EFBF-63B9-94650936BA77}"/>
              </a:ext>
            </a:extLst>
          </p:cNvPr>
          <p:cNvSpPr>
            <a:spLocks noGrp="1"/>
          </p:cNvSpPr>
          <p:nvPr>
            <p:ph type="sldNum" sz="quarter" idx="12"/>
          </p:nvPr>
        </p:nvSpPr>
        <p:spPr/>
        <p:txBody>
          <a:bodyPr/>
          <a:lstStyle/>
          <a:p>
            <a:fld id="{49CF02E1-0700-4211-9D41-F3C2B6DBFA1E}" type="slidenum">
              <a:rPr lang="fr-FR" smtClean="0"/>
              <a:t>‹N°›</a:t>
            </a:fld>
            <a:endParaRPr lang="fr-FR"/>
          </a:p>
        </p:txBody>
      </p:sp>
    </p:spTree>
    <p:extLst>
      <p:ext uri="{BB962C8B-B14F-4D97-AF65-F5344CB8AC3E}">
        <p14:creationId xmlns:p14="http://schemas.microsoft.com/office/powerpoint/2010/main" val="38783595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0AD7CE-8064-03E3-7A6D-13B0065F601B}"/>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E9C6C832-3AB2-6AB3-30F1-DE9A9170FFA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E28C05E6-1914-2CB5-49DB-CCF844B55A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B26C606E-43B4-6E46-063C-49128B15C521}"/>
              </a:ext>
            </a:extLst>
          </p:cNvPr>
          <p:cNvSpPr>
            <a:spLocks noGrp="1"/>
          </p:cNvSpPr>
          <p:nvPr>
            <p:ph type="dt" sz="half" idx="10"/>
          </p:nvPr>
        </p:nvSpPr>
        <p:spPr/>
        <p:txBody>
          <a:bodyPr/>
          <a:lstStyle/>
          <a:p>
            <a:fld id="{9E0B99F0-0FDB-4E54-BFFB-CCEB1DFB2459}" type="datetimeFigureOut">
              <a:rPr lang="fr-FR" smtClean="0"/>
              <a:t>30/03/2025</a:t>
            </a:fld>
            <a:endParaRPr lang="fr-FR"/>
          </a:p>
        </p:txBody>
      </p:sp>
      <p:sp>
        <p:nvSpPr>
          <p:cNvPr id="6" name="Espace réservé du pied de page 5">
            <a:extLst>
              <a:ext uri="{FF2B5EF4-FFF2-40B4-BE49-F238E27FC236}">
                <a16:creationId xmlns:a16="http://schemas.microsoft.com/office/drawing/2014/main" id="{42F04A6B-41D0-48CF-ECC4-5A8211B7194C}"/>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63A03C25-38A0-0463-6351-23BD55F73DE5}"/>
              </a:ext>
            </a:extLst>
          </p:cNvPr>
          <p:cNvSpPr>
            <a:spLocks noGrp="1"/>
          </p:cNvSpPr>
          <p:nvPr>
            <p:ph type="sldNum" sz="quarter" idx="12"/>
          </p:nvPr>
        </p:nvSpPr>
        <p:spPr/>
        <p:txBody>
          <a:bodyPr/>
          <a:lstStyle/>
          <a:p>
            <a:fld id="{49CF02E1-0700-4211-9D41-F3C2B6DBFA1E}" type="slidenum">
              <a:rPr lang="fr-FR" smtClean="0"/>
              <a:t>‹N°›</a:t>
            </a:fld>
            <a:endParaRPr lang="fr-FR"/>
          </a:p>
        </p:txBody>
      </p:sp>
    </p:spTree>
    <p:extLst>
      <p:ext uri="{BB962C8B-B14F-4D97-AF65-F5344CB8AC3E}">
        <p14:creationId xmlns:p14="http://schemas.microsoft.com/office/powerpoint/2010/main" val="24096149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2.jp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C1021478-B69A-31AD-DEFD-F7A3BEC668D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15FB4C6C-BCBB-E179-2793-F8BA6F755D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E076D960-ADEA-9814-A154-F5A76DDA61E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0B99F0-0FDB-4E54-BFFB-CCEB1DFB2459}" type="datetimeFigureOut">
              <a:rPr lang="fr-FR" smtClean="0"/>
              <a:t>30/03/2025</a:t>
            </a:fld>
            <a:endParaRPr lang="fr-FR"/>
          </a:p>
        </p:txBody>
      </p:sp>
      <p:sp>
        <p:nvSpPr>
          <p:cNvPr id="5" name="Espace réservé du pied de page 4">
            <a:extLst>
              <a:ext uri="{FF2B5EF4-FFF2-40B4-BE49-F238E27FC236}">
                <a16:creationId xmlns:a16="http://schemas.microsoft.com/office/drawing/2014/main" id="{8FB725B2-D7E1-233A-A768-A7129DE779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D48A0C75-C496-7703-B9FF-8A54178C5B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CF02E1-0700-4211-9D41-F3C2B6DBFA1E}" type="slidenum">
              <a:rPr lang="fr-FR" smtClean="0"/>
              <a:t>‹N°›</a:t>
            </a:fld>
            <a:endParaRPr lang="fr-FR"/>
          </a:p>
        </p:txBody>
      </p:sp>
    </p:spTree>
    <p:extLst>
      <p:ext uri="{BB962C8B-B14F-4D97-AF65-F5344CB8AC3E}">
        <p14:creationId xmlns:p14="http://schemas.microsoft.com/office/powerpoint/2010/main" val="2985500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431801" y="2276873"/>
            <a:ext cx="11233151" cy="3744416"/>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5" name="Espace réservé du pied de page 4"/>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latin typeface="Marianne" charset="0"/>
                <a:ea typeface="Marianne" charset="0"/>
                <a:cs typeface="Marianne" charset="0"/>
              </a:defRPr>
            </a:lvl1pPr>
          </a:lstStyle>
          <a:p>
            <a:endParaRPr lang="fr-FR" dirty="0"/>
          </a:p>
        </p:txBody>
      </p:sp>
      <p:sp>
        <p:nvSpPr>
          <p:cNvPr id="6" name="Espace réservé du numéro de diapositive 5"/>
          <p:cNvSpPr>
            <a:spLocks noGrp="1"/>
          </p:cNvSpPr>
          <p:nvPr>
            <p:ph type="sldNum" sz="quarter" idx="4"/>
          </p:nvPr>
        </p:nvSpPr>
        <p:spPr bwMode="gray">
          <a:xfrm>
            <a:off x="9864951" y="6545096"/>
            <a:ext cx="1800000" cy="312904"/>
          </a:xfrm>
          <a:prstGeom prst="rect">
            <a:avLst/>
          </a:prstGeom>
        </p:spPr>
        <p:txBody>
          <a:bodyPr vert="horz" lIns="0" tIns="0" rIns="0" bIns="0" rtlCol="0" anchor="ctr" anchorCtr="0">
            <a:noAutofit/>
          </a:bodyPr>
          <a:lstStyle>
            <a:lvl1pPr algn="r">
              <a:defRPr sz="1000" b="1">
                <a:solidFill>
                  <a:schemeClr val="tx1"/>
                </a:solidFill>
              </a:defRPr>
            </a:lvl1pPr>
          </a:lstStyle>
          <a:p>
            <a:fld id="{733122C9-A0B9-462F-8757-0847AD287B63}" type="slidenum">
              <a:rPr lang="fr-FR" smtClean="0"/>
              <a:pPr/>
              <a:t>‹N°›</a:t>
            </a:fld>
            <a:endParaRPr lang="fr-FR" dirty="0"/>
          </a:p>
        </p:txBody>
      </p:sp>
      <p:pic>
        <p:nvPicPr>
          <p:cNvPr id="7" name="Image 6"/>
          <p:cNvPicPr>
            <a:picLocks noChangeAspect="1"/>
          </p:cNvPicPr>
          <p:nvPr/>
        </p:nvPicPr>
        <p:blipFill>
          <a:blip r:embed="rId14">
            <a:extLst>
              <a:ext uri="{28A0092B-C50C-407E-A947-70E740481C1C}">
                <a14:useLocalDpi xmlns:a14="http://schemas.microsoft.com/office/drawing/2010/main" val="0"/>
              </a:ext>
            </a:extLst>
          </a:blip>
          <a:stretch>
            <a:fillRect/>
          </a:stretch>
        </p:blipFill>
        <p:spPr bwMode="gray">
          <a:xfrm>
            <a:off x="384000" y="144000"/>
            <a:ext cx="720000" cy="720000"/>
          </a:xfrm>
          <a:prstGeom prst="rect">
            <a:avLst/>
          </a:prstGeom>
        </p:spPr>
      </p:pic>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431801" y="910402"/>
            <a:ext cx="11233151" cy="719988"/>
          </a:xfrm>
          <a:prstGeom prst="rect">
            <a:avLst/>
          </a:prstGeom>
        </p:spPr>
        <p:txBody>
          <a:bodyPr vert="horz" lIns="91440" tIns="45720" rIns="91440" bIns="45720" rtlCol="0" anchor="ctr">
            <a:normAutofit/>
          </a:bodyPr>
          <a:lstStyle/>
          <a:p>
            <a:r>
              <a:rPr lang="fr-FR" dirty="0"/>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420937" y="6501342"/>
            <a:ext cx="2743200" cy="242841"/>
          </a:xfrm>
          <a:prstGeom prst="rect">
            <a:avLst/>
          </a:prstGeom>
        </p:spPr>
        <p:txBody>
          <a:bodyPr vert="horz" lIns="91440" tIns="45720" rIns="91440" bIns="45720" rtlCol="0" anchor="ctr"/>
          <a:lstStyle>
            <a:lvl1pPr algn="l">
              <a:defRPr sz="1000" b="1">
                <a:solidFill>
                  <a:schemeClr val="tx1"/>
                </a:solidFill>
              </a:defRPr>
            </a:lvl1pPr>
          </a:lstStyle>
          <a:p>
            <a:fld id="{D8A7C826-B207-458D-80BE-6E91DA65FB47}" type="datetime1">
              <a:rPr lang="fr-FR" cap="all" smtClean="0"/>
              <a:t>30/03/2025</a:t>
            </a:fld>
            <a:endParaRPr lang="fr-FR" cap="all" dirty="0"/>
          </a:p>
        </p:txBody>
      </p:sp>
      <p:pic>
        <p:nvPicPr>
          <p:cNvPr id="11" name="Image 10">
            <a:extLst>
              <a:ext uri="{FF2B5EF4-FFF2-40B4-BE49-F238E27FC236}">
                <a16:creationId xmlns:a16="http://schemas.microsoft.com/office/drawing/2014/main" id="{CF162A95-DBF3-EB4D-94A9-B525B12195C6}"/>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bwMode="gray">
          <a:xfrm>
            <a:off x="384000" y="194583"/>
            <a:ext cx="960000" cy="618835"/>
          </a:xfrm>
          <a:prstGeom prst="rect">
            <a:avLst/>
          </a:prstGeom>
        </p:spPr>
      </p:pic>
      <p:cxnSp>
        <p:nvCxnSpPr>
          <p:cNvPr id="13" name="Connecteur droit 12"/>
          <p:cNvCxnSpPr/>
          <p:nvPr userDrawn="1"/>
        </p:nvCxnSpPr>
        <p:spPr>
          <a:xfrm>
            <a:off x="431800" y="6309320"/>
            <a:ext cx="11424840" cy="0"/>
          </a:xfrm>
          <a:prstGeom prst="line">
            <a:avLst/>
          </a:prstGeom>
          <a:ln w="12700">
            <a:solidFill>
              <a:srgbClr val="484D7A"/>
            </a:solidFill>
          </a:ln>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userDrawn="1"/>
        </p:nvCxnSpPr>
        <p:spPr>
          <a:xfrm>
            <a:off x="420938" y="6421017"/>
            <a:ext cx="11339692" cy="0"/>
          </a:xfrm>
          <a:prstGeom prst="line">
            <a:avLst/>
          </a:prstGeom>
          <a:ln w="12700">
            <a:solidFill>
              <a:srgbClr val="F48F70"/>
            </a:solidFill>
          </a:ln>
        </p:spPr>
        <p:style>
          <a:lnRef idx="1">
            <a:schemeClr val="accent1"/>
          </a:lnRef>
          <a:fillRef idx="0">
            <a:schemeClr val="accent1"/>
          </a:fillRef>
          <a:effectRef idx="0">
            <a:schemeClr val="accent1"/>
          </a:effectRef>
          <a:fontRef idx="minor">
            <a:schemeClr val="tx1"/>
          </a:fontRef>
        </p:style>
      </p:cxnSp>
      <p:cxnSp>
        <p:nvCxnSpPr>
          <p:cNvPr id="15" name="Connecteur droit 14"/>
          <p:cNvCxnSpPr/>
          <p:nvPr userDrawn="1"/>
        </p:nvCxnSpPr>
        <p:spPr>
          <a:xfrm flipV="1">
            <a:off x="11856640" y="3717032"/>
            <a:ext cx="0" cy="2592288"/>
          </a:xfrm>
          <a:prstGeom prst="line">
            <a:avLst/>
          </a:prstGeom>
          <a:ln w="12700">
            <a:solidFill>
              <a:srgbClr val="484D7A"/>
            </a:solidFill>
          </a:ln>
        </p:spPr>
        <p:style>
          <a:lnRef idx="1">
            <a:schemeClr val="accent1"/>
          </a:lnRef>
          <a:fillRef idx="0">
            <a:schemeClr val="accent1"/>
          </a:fillRef>
          <a:effectRef idx="0">
            <a:schemeClr val="accent1"/>
          </a:effectRef>
          <a:fontRef idx="minor">
            <a:schemeClr val="tx1"/>
          </a:fontRef>
        </p:style>
      </p:cxnSp>
      <p:cxnSp>
        <p:nvCxnSpPr>
          <p:cNvPr id="16" name="Connecteur droit 15"/>
          <p:cNvCxnSpPr/>
          <p:nvPr userDrawn="1"/>
        </p:nvCxnSpPr>
        <p:spPr>
          <a:xfrm flipV="1">
            <a:off x="11760629" y="3044958"/>
            <a:ext cx="0" cy="3376061"/>
          </a:xfrm>
          <a:prstGeom prst="line">
            <a:avLst/>
          </a:prstGeom>
          <a:ln w="12700">
            <a:solidFill>
              <a:srgbClr val="F48F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99374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hf hdr="0" ftr="0" dt="0"/>
  <p:txStyles>
    <p:titleStyle>
      <a:lvl1pPr marL="19050" indent="0" algn="l" defTabSz="1219170" rtl="0" eaLnBrk="1" latinLnBrk="0" hangingPunct="1">
        <a:lnSpc>
          <a:spcPct val="90000"/>
        </a:lnSpc>
        <a:spcBef>
          <a:spcPct val="0"/>
        </a:spcBef>
        <a:buNone/>
        <a:tabLst/>
        <a:defRPr sz="3333" b="1" kern="1200">
          <a:solidFill>
            <a:srgbClr val="002060"/>
          </a:solidFill>
          <a:latin typeface="Marianne" charset="0"/>
          <a:ea typeface="Marianne" charset="0"/>
          <a:cs typeface="Marianne" charset="0"/>
        </a:defRPr>
      </a:lvl1pPr>
    </p:titleStyle>
    <p:bodyStyle>
      <a:lvl1pPr marL="122764" indent="0" algn="l" defTabSz="1219170" rtl="0" eaLnBrk="1" latinLnBrk="0" hangingPunct="1">
        <a:lnSpc>
          <a:spcPct val="100000"/>
        </a:lnSpc>
        <a:spcBef>
          <a:spcPts val="0"/>
        </a:spcBef>
        <a:spcAft>
          <a:spcPts val="667"/>
        </a:spcAft>
        <a:buFont typeface="Arial" pitchFamily="34" charset="0"/>
        <a:buNone/>
        <a:tabLst/>
        <a:defRPr sz="1867" b="0" kern="1200">
          <a:solidFill>
            <a:srgbClr val="E0896F"/>
          </a:solidFill>
          <a:latin typeface="Marianne" charset="0"/>
          <a:ea typeface="Marianne" charset="0"/>
          <a:cs typeface="Marianne" charset="0"/>
        </a:defRPr>
      </a:lvl1pPr>
      <a:lvl2pPr marL="468588" indent="-228594" algn="l" defTabSz="1219170" rtl="0" eaLnBrk="1" latinLnBrk="0" hangingPunct="1">
        <a:lnSpc>
          <a:spcPct val="100000"/>
        </a:lnSpc>
        <a:spcBef>
          <a:spcPts val="800"/>
        </a:spcBef>
        <a:spcAft>
          <a:spcPts val="800"/>
        </a:spcAft>
        <a:buSzPct val="100000"/>
        <a:buFont typeface="Arial" panose="020B0604020202020204" pitchFamily="34" charset="0"/>
        <a:buChar char="•"/>
        <a:defRPr sz="1600" kern="1200">
          <a:solidFill>
            <a:schemeClr val="tx1"/>
          </a:solidFill>
          <a:latin typeface="Marianne" charset="0"/>
          <a:ea typeface="Marianne" charset="0"/>
          <a:cs typeface="Marianne" charset="0"/>
        </a:defRPr>
      </a:lvl2pPr>
      <a:lvl3pPr marL="708582" indent="-228594" algn="l" defTabSz="1219170" rtl="0" eaLnBrk="1" latinLnBrk="0" hangingPunct="1">
        <a:lnSpc>
          <a:spcPct val="100000"/>
        </a:lnSpc>
        <a:spcBef>
          <a:spcPts val="133"/>
        </a:spcBef>
        <a:spcAft>
          <a:spcPts val="133"/>
        </a:spcAft>
        <a:buSzPct val="100000"/>
        <a:buFont typeface="Wingdings" pitchFamily="2" charset="2"/>
        <a:buChar char="§"/>
        <a:defRPr sz="1333" kern="1200">
          <a:solidFill>
            <a:schemeClr val="tx1"/>
          </a:solidFill>
          <a:latin typeface="Marianne" charset="0"/>
          <a:ea typeface="Marianne" charset="0"/>
          <a:cs typeface="Marianne" charset="0"/>
        </a:defRPr>
      </a:lvl3pPr>
      <a:lvl4pPr marL="948576" indent="-228594" algn="l" defTabSz="1219170" rtl="0" eaLnBrk="1" latinLnBrk="0" hangingPunct="1">
        <a:lnSpc>
          <a:spcPct val="100000"/>
        </a:lnSpc>
        <a:spcBef>
          <a:spcPts val="133"/>
        </a:spcBef>
        <a:spcAft>
          <a:spcPts val="133"/>
        </a:spcAft>
        <a:buSzPct val="100000"/>
        <a:buFont typeface="Arial" panose="020B0604020202020204" pitchFamily="34" charset="0"/>
        <a:buChar char="•"/>
        <a:defRPr sz="1067" kern="1200">
          <a:solidFill>
            <a:schemeClr val="tx1"/>
          </a:solidFill>
          <a:latin typeface="Marianne" charset="0"/>
          <a:ea typeface="Marianne" charset="0"/>
          <a:cs typeface="Marianne" charset="0"/>
        </a:defRPr>
      </a:lvl4pPr>
      <a:lvl5pPr marL="1236569" indent="-228594" algn="l" defTabSz="1219170" rtl="0" eaLnBrk="1" latinLnBrk="0" hangingPunct="1">
        <a:lnSpc>
          <a:spcPct val="100000"/>
        </a:lnSpc>
        <a:spcBef>
          <a:spcPts val="133"/>
        </a:spcBef>
        <a:spcAft>
          <a:spcPts val="133"/>
        </a:spcAft>
        <a:buSzPct val="100000"/>
        <a:buFont typeface="Wingdings" pitchFamily="2" charset="2"/>
        <a:buChar char="§"/>
        <a:defRPr sz="933" kern="1200">
          <a:solidFill>
            <a:schemeClr val="tx1"/>
          </a:solidFill>
          <a:latin typeface="Marianne" charset="0"/>
          <a:ea typeface="Marianne" charset="0"/>
          <a:cs typeface="Marianne"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267093" indent="0" algn="l" defTabSz="1219170" rtl="0" eaLnBrk="1" latinLnBrk="0" hangingPunct="1">
        <a:spcBef>
          <a:spcPct val="20000"/>
        </a:spcBef>
        <a:buFont typeface="Arial" pitchFamily="34" charset="0"/>
        <a:buNone/>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hyperlink" Target="mailto:sppe@sante.gouv.fr" TargetMode="External"/><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4.jp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image" Target="../media/image4.jp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4.xml"/><Relationship Id="rId4" Type="http://schemas.openxmlformats.org/officeDocument/2006/relationships/image" Target="../media/image4.jpg"/></Relationships>
</file>

<file path=ppt/slides/_rels/slide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0FF52280-71A2-3D9A-C07F-5D2301208667}"/>
              </a:ext>
            </a:extLst>
          </p:cNvPr>
          <p:cNvPicPr>
            <a:picLocks noChangeAspect="1"/>
          </p:cNvPicPr>
          <p:nvPr/>
        </p:nvPicPr>
        <p:blipFill>
          <a:blip r:embed="rId2"/>
          <a:stretch>
            <a:fillRect/>
          </a:stretch>
        </p:blipFill>
        <p:spPr>
          <a:xfrm>
            <a:off x="0" y="0"/>
            <a:ext cx="12192000" cy="6858000"/>
          </a:xfrm>
          <a:prstGeom prst="rect">
            <a:avLst/>
          </a:prstGeom>
          <a:solidFill>
            <a:srgbClr val="1C408E"/>
          </a:solidFill>
        </p:spPr>
      </p:pic>
    </p:spTree>
    <p:extLst>
      <p:ext uri="{BB962C8B-B14F-4D97-AF65-F5344CB8AC3E}">
        <p14:creationId xmlns:p14="http://schemas.microsoft.com/office/powerpoint/2010/main" val="4085790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 name="Rectangle 2"/>
          <p:cNvSpPr/>
          <p:nvPr/>
        </p:nvSpPr>
        <p:spPr>
          <a:xfrm>
            <a:off x="335360" y="6117299"/>
            <a:ext cx="11713301"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8" name="Rectangle 7"/>
          <p:cNvSpPr/>
          <p:nvPr/>
        </p:nvSpPr>
        <p:spPr>
          <a:xfrm>
            <a:off x="0" y="2948947"/>
            <a:ext cx="12192000" cy="3909053"/>
          </a:xfrm>
          <a:prstGeom prst="rect">
            <a:avLst/>
          </a:prstGeom>
          <a:solidFill>
            <a:srgbClr val="1C4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title"/>
          </p:nvPr>
        </p:nvSpPr>
        <p:spPr bwMode="auto">
          <a:xfrm>
            <a:off x="3503712" y="4261496"/>
            <a:ext cx="5184576" cy="664797"/>
          </a:xfrm>
        </p:spPr>
        <p:txBody>
          <a:bodyPr>
            <a:normAutofit fontScale="90000"/>
          </a:bodyPr>
          <a:lstStyle/>
          <a:p>
            <a:pPr algn="ctr" defTabSz="1219170">
              <a:defRPr/>
            </a:pPr>
            <a:r>
              <a:rPr lang="fr-FR" sz="4267" b="1" dirty="0">
                <a:solidFill>
                  <a:schemeClr val="bg1"/>
                </a:solidFill>
                <a:latin typeface="Marianne"/>
              </a:rPr>
              <a:t>Partagez vos bonnes pratiques sur le soutien à la qualité des modes d’accueil!</a:t>
            </a:r>
          </a:p>
        </p:txBody>
      </p:sp>
      <p:pic>
        <p:nvPicPr>
          <p:cNvPr id="5" name="Image 4" descr="Une image contenant texte, Police, Graphique, logo&#10;&#10;Description générée automatiquement">
            <a:extLst>
              <a:ext uri="{FF2B5EF4-FFF2-40B4-BE49-F238E27FC236}">
                <a16:creationId xmlns:a16="http://schemas.microsoft.com/office/drawing/2014/main" id="{BD928AC7-3D09-538A-C762-6314EE6CD0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360" y="289158"/>
            <a:ext cx="3890571" cy="1075613"/>
          </a:xfrm>
          <a:prstGeom prst="rect">
            <a:avLst/>
          </a:prstGeom>
        </p:spPr>
      </p:pic>
    </p:spTree>
    <p:extLst>
      <p:ext uri="{BB962C8B-B14F-4D97-AF65-F5344CB8AC3E}">
        <p14:creationId xmlns:p14="http://schemas.microsoft.com/office/powerpoint/2010/main" val="22096758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3" name="Titre 7">
            <a:extLst>
              <a:ext uri="{FF2B5EF4-FFF2-40B4-BE49-F238E27FC236}">
                <a16:creationId xmlns:a16="http://schemas.microsoft.com/office/drawing/2014/main" id="{DB8929C2-90A8-4876-88C6-FE4A19982B61}"/>
              </a:ext>
            </a:extLst>
          </p:cNvPr>
          <p:cNvSpPr txBox="1">
            <a:spLocks/>
          </p:cNvSpPr>
          <p:nvPr/>
        </p:nvSpPr>
        <p:spPr>
          <a:xfrm>
            <a:off x="177667" y="473346"/>
            <a:ext cx="11060688" cy="772584"/>
          </a:xfrm>
          <a:prstGeom prst="rect">
            <a:avLst/>
          </a:prstGeom>
        </p:spPr>
        <p:txBody>
          <a:bodyPr vert="horz" lIns="121920" tIns="60960" rIns="121920" bIns="60960" rtlCol="0" anchor="ctr">
            <a:noAutofit/>
          </a:bodyPr>
          <a:lstStyle>
            <a:lvl1pPr marL="14288" indent="0" algn="ctr" defTabSz="914400" rtl="0" eaLnBrk="1" latinLnBrk="0" hangingPunct="1">
              <a:lnSpc>
                <a:spcPct val="90000"/>
              </a:lnSpc>
              <a:spcBef>
                <a:spcPct val="0"/>
              </a:spcBef>
              <a:buNone/>
              <a:tabLst/>
              <a:defRPr sz="4500" b="1" kern="1200">
                <a:solidFill>
                  <a:srgbClr val="002060"/>
                </a:solidFill>
                <a:latin typeface="Marianne" charset="0"/>
                <a:ea typeface="Marianne" charset="0"/>
                <a:cs typeface="Marianne" charset="0"/>
              </a:defRPr>
            </a:lvl1pPr>
          </a:lstStyle>
          <a:p>
            <a:pPr marL="19050" algn="l" defTabSz="1219170"/>
            <a:endParaRPr lang="fr-FR" sz="2400" dirty="0">
              <a:latin typeface="Marianne" panose="02000000000000000000" pitchFamily="2" charset="0"/>
            </a:endParaRPr>
          </a:p>
        </p:txBody>
      </p:sp>
      <p:sp>
        <p:nvSpPr>
          <p:cNvPr id="11" name="Rectangle à coins arrondis 10"/>
          <p:cNvSpPr/>
          <p:nvPr/>
        </p:nvSpPr>
        <p:spPr>
          <a:xfrm>
            <a:off x="490060" y="1581439"/>
            <a:ext cx="2880000" cy="336000"/>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9994" defTabSz="1219170"/>
            <a:r>
              <a:rPr lang="fr-FR" sz="1467" b="1" dirty="0">
                <a:solidFill>
                  <a:srgbClr val="FFFFFF"/>
                </a:solidFill>
                <a:latin typeface="Marianne" panose="02000000000000000000" pitchFamily="2" charset="0"/>
              </a:rPr>
              <a:t>Contenu</a:t>
            </a:r>
          </a:p>
        </p:txBody>
      </p:sp>
      <p:sp>
        <p:nvSpPr>
          <p:cNvPr id="13" name="Rectangle à coins arrondis 12"/>
          <p:cNvSpPr/>
          <p:nvPr/>
        </p:nvSpPr>
        <p:spPr>
          <a:xfrm>
            <a:off x="756348" y="3597845"/>
            <a:ext cx="3537600" cy="851688"/>
          </a:xfrm>
          <a:prstGeom prst="roundRect">
            <a:avLst/>
          </a:prstGeom>
          <a:solidFill>
            <a:srgbClr val="E3E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400" b="1" dirty="0">
                <a:solidFill>
                  <a:srgbClr val="000000"/>
                </a:solidFill>
                <a:latin typeface="Marianne" panose="02000000000000000000" pitchFamily="2" charset="0"/>
              </a:rPr>
              <a:t>1. Identifier les bonnes pratiques de votre territoire sur les points recensés</a:t>
            </a:r>
          </a:p>
        </p:txBody>
      </p:sp>
      <p:sp>
        <p:nvSpPr>
          <p:cNvPr id="14" name="Rectangle à coins arrondis 13"/>
          <p:cNvSpPr/>
          <p:nvPr/>
        </p:nvSpPr>
        <p:spPr>
          <a:xfrm>
            <a:off x="4328387" y="3597845"/>
            <a:ext cx="3537600" cy="851688"/>
          </a:xfrm>
          <a:prstGeom prst="roundRect">
            <a:avLst/>
          </a:prstGeom>
          <a:solidFill>
            <a:srgbClr val="E3E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400" b="1" dirty="0">
                <a:solidFill>
                  <a:srgbClr val="000000"/>
                </a:solidFill>
                <a:latin typeface="Marianne" panose="02000000000000000000" pitchFamily="2" charset="0"/>
              </a:rPr>
              <a:t>2. Remplir la fiche présentée dans ce document pour expliquer votre pratique (fiche détaillée ou fiche simplifiée)</a:t>
            </a:r>
          </a:p>
        </p:txBody>
      </p:sp>
      <p:sp>
        <p:nvSpPr>
          <p:cNvPr id="15" name="Rectangle à coins arrondis 14"/>
          <p:cNvSpPr/>
          <p:nvPr/>
        </p:nvSpPr>
        <p:spPr>
          <a:xfrm>
            <a:off x="8096151" y="3597845"/>
            <a:ext cx="3537600" cy="851688"/>
          </a:xfrm>
          <a:prstGeom prst="roundRect">
            <a:avLst/>
          </a:prstGeom>
          <a:solidFill>
            <a:srgbClr val="E3E3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400" b="1" dirty="0">
                <a:solidFill>
                  <a:srgbClr val="000000"/>
                </a:solidFill>
                <a:latin typeface="Marianne" panose="02000000000000000000" pitchFamily="2" charset="0"/>
              </a:rPr>
              <a:t>3. Renvoyer la fiche à </a:t>
            </a:r>
            <a:r>
              <a:rPr lang="fr-FR" sz="1400" b="1" dirty="0">
                <a:solidFill>
                  <a:srgbClr val="000000"/>
                </a:solidFill>
                <a:latin typeface="Marianne" panose="02000000000000000000" pitchFamily="2" charset="0"/>
                <a:hlinkClick r:id="rId3"/>
              </a:rPr>
              <a:t>sppe@sante.gouv.fr</a:t>
            </a:r>
            <a:r>
              <a:rPr lang="fr-FR" sz="1400" b="1" dirty="0">
                <a:solidFill>
                  <a:srgbClr val="000000"/>
                </a:solidFill>
                <a:latin typeface="Marianne" panose="02000000000000000000" pitchFamily="2" charset="0"/>
              </a:rPr>
              <a:t> </a:t>
            </a:r>
            <a:r>
              <a:rPr lang="fr-FR" sz="1400" b="1" dirty="0">
                <a:solidFill>
                  <a:schemeClr val="bg2"/>
                </a:solidFill>
                <a:latin typeface="Marianne" panose="02000000000000000000" pitchFamily="2" charset="0"/>
              </a:rPr>
              <a:t>avant le 24 mars</a:t>
            </a:r>
          </a:p>
        </p:txBody>
      </p:sp>
      <p:sp>
        <p:nvSpPr>
          <p:cNvPr id="18" name="Rectangle 17"/>
          <p:cNvSpPr/>
          <p:nvPr/>
        </p:nvSpPr>
        <p:spPr>
          <a:xfrm>
            <a:off x="370254" y="4366239"/>
            <a:ext cx="11321405" cy="817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endParaRPr lang="fr-FR" sz="1467" b="1" dirty="0">
              <a:solidFill>
                <a:srgbClr val="000000"/>
              </a:solidFill>
              <a:latin typeface="Marianne" panose="02000000000000000000" pitchFamily="2" charset="0"/>
            </a:endParaRPr>
          </a:p>
        </p:txBody>
      </p:sp>
      <p:sp>
        <p:nvSpPr>
          <p:cNvPr id="19" name="Rectangle à coins arrondis 18"/>
          <p:cNvSpPr/>
          <p:nvPr/>
        </p:nvSpPr>
        <p:spPr>
          <a:xfrm>
            <a:off x="307755" y="1900458"/>
            <a:ext cx="11544841" cy="9150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fr-FR" sz="1467" b="1" dirty="0">
                <a:solidFill>
                  <a:srgbClr val="000000"/>
                </a:solidFill>
                <a:latin typeface="Marianne" panose="02000000000000000000" pitchFamily="2" charset="0"/>
              </a:rPr>
              <a:t>Un recueil de bonnes pratiques compilant les initiatives déployées par les autorités organisatrices pour faciliter l’exercice de la compétence de soutien à la qualité (4</a:t>
            </a:r>
            <a:r>
              <a:rPr lang="fr-FR" sz="1467" b="1" baseline="30000" dirty="0">
                <a:solidFill>
                  <a:srgbClr val="000000"/>
                </a:solidFill>
                <a:latin typeface="Marianne" panose="02000000000000000000" pitchFamily="2" charset="0"/>
              </a:rPr>
              <a:t>e</a:t>
            </a:r>
            <a:r>
              <a:rPr lang="fr-FR" sz="1467" b="1" dirty="0">
                <a:solidFill>
                  <a:srgbClr val="000000"/>
                </a:solidFill>
                <a:latin typeface="Marianne" panose="02000000000000000000" pitchFamily="2" charset="0"/>
              </a:rPr>
              <a:t> compétence du service public de la petite enfance)</a:t>
            </a:r>
            <a:endParaRPr lang="fr-FR" sz="1467" dirty="0">
              <a:solidFill>
                <a:srgbClr val="000000"/>
              </a:solidFill>
              <a:latin typeface="Marianne" panose="02000000000000000000" pitchFamily="2" charset="0"/>
            </a:endParaRPr>
          </a:p>
        </p:txBody>
      </p:sp>
      <p:sp>
        <p:nvSpPr>
          <p:cNvPr id="28" name="Ellipse 27"/>
          <p:cNvSpPr/>
          <p:nvPr/>
        </p:nvSpPr>
        <p:spPr>
          <a:xfrm>
            <a:off x="186591" y="4027827"/>
            <a:ext cx="526152" cy="5247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Arial"/>
            </a:endParaRPr>
          </a:p>
        </p:txBody>
      </p:sp>
      <p:sp>
        <p:nvSpPr>
          <p:cNvPr id="3" name="Espace réservé de la date 2"/>
          <p:cNvSpPr>
            <a:spLocks noGrp="1"/>
          </p:cNvSpPr>
          <p:nvPr>
            <p:ph type="dt" sz="half" idx="10"/>
          </p:nvPr>
        </p:nvSpPr>
        <p:spPr>
          <a:xfrm>
            <a:off x="307755" y="6501342"/>
            <a:ext cx="2743200" cy="242841"/>
          </a:xfrm>
        </p:spPr>
        <p:txBody>
          <a:bodyPr/>
          <a:lstStyle/>
          <a:p>
            <a:pPr defTabSz="1219170"/>
            <a:fld id="{D83344A4-538A-4547-8F9B-D5C0C3B428E4}" type="datetime1">
              <a:rPr lang="fr-FR">
                <a:solidFill>
                  <a:srgbClr val="000000"/>
                </a:solidFill>
                <a:latin typeface="Arial"/>
              </a:rPr>
              <a:pPr defTabSz="1219170"/>
              <a:t>30/03/2025</a:t>
            </a:fld>
            <a:endParaRPr lang="fr-FR" dirty="0">
              <a:solidFill>
                <a:srgbClr val="000000"/>
              </a:solidFill>
              <a:latin typeface="Arial"/>
            </a:endParaRPr>
          </a:p>
        </p:txBody>
      </p:sp>
      <p:sp>
        <p:nvSpPr>
          <p:cNvPr id="4" name="Espace réservé du numéro de diapositive 3"/>
          <p:cNvSpPr>
            <a:spLocks noGrp="1"/>
          </p:cNvSpPr>
          <p:nvPr>
            <p:ph type="sldNum" sz="quarter" idx="12"/>
          </p:nvPr>
        </p:nvSpPr>
        <p:spPr/>
        <p:txBody>
          <a:bodyPr/>
          <a:lstStyle/>
          <a:p>
            <a:pPr defTabSz="1219170"/>
            <a:fld id="{9CC89C03-0C7C-4A41-AD81-9335F7231C5E}" type="slidenum">
              <a:rPr lang="fr-FR">
                <a:solidFill>
                  <a:srgbClr val="000000"/>
                </a:solidFill>
                <a:latin typeface="Arial"/>
              </a:rPr>
              <a:pPr defTabSz="1219170"/>
              <a:t>3</a:t>
            </a:fld>
            <a:endParaRPr lang="fr-FR">
              <a:solidFill>
                <a:srgbClr val="000000"/>
              </a:solidFill>
              <a:latin typeface="Arial"/>
            </a:endParaRPr>
          </a:p>
        </p:txBody>
      </p:sp>
      <p:sp>
        <p:nvSpPr>
          <p:cNvPr id="27" name="Rectangle à coins arrondis 15">
            <a:extLst>
              <a:ext uri="{FF2B5EF4-FFF2-40B4-BE49-F238E27FC236}">
                <a16:creationId xmlns:a16="http://schemas.microsoft.com/office/drawing/2014/main" id="{E93DE718-1B4A-492F-9DEF-7DFA0A91A22F}"/>
              </a:ext>
            </a:extLst>
          </p:cNvPr>
          <p:cNvSpPr/>
          <p:nvPr/>
        </p:nvSpPr>
        <p:spPr>
          <a:xfrm>
            <a:off x="490060" y="4984986"/>
            <a:ext cx="2880000" cy="336000"/>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9994" defTabSz="1219170"/>
            <a:r>
              <a:rPr lang="fr-FR" sz="1467" b="1" dirty="0">
                <a:solidFill>
                  <a:srgbClr val="FFFFFF"/>
                </a:solidFill>
                <a:latin typeface="Marianne" panose="02000000000000000000" pitchFamily="2" charset="0"/>
              </a:rPr>
              <a:t>Quelle suite? </a:t>
            </a:r>
          </a:p>
        </p:txBody>
      </p:sp>
      <p:sp>
        <p:nvSpPr>
          <p:cNvPr id="29" name="Rectangle 28">
            <a:extLst>
              <a:ext uri="{FF2B5EF4-FFF2-40B4-BE49-F238E27FC236}">
                <a16:creationId xmlns:a16="http://schemas.microsoft.com/office/drawing/2014/main" id="{43C32BE4-8ECF-4446-9E03-EA11DFACEB66}"/>
              </a:ext>
            </a:extLst>
          </p:cNvPr>
          <p:cNvSpPr/>
          <p:nvPr/>
        </p:nvSpPr>
        <p:spPr>
          <a:xfrm>
            <a:off x="418327" y="5528449"/>
            <a:ext cx="11284707" cy="615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70"/>
            <a:r>
              <a:rPr lang="fr-FR" sz="1467" b="1" dirty="0">
                <a:solidFill>
                  <a:srgbClr val="000000"/>
                </a:solidFill>
                <a:latin typeface="Marianne" panose="02000000000000000000" pitchFamily="2" charset="0"/>
              </a:rPr>
              <a:t>L’ensemble des bonnes pratiques recensées seront adressées à toutes les autorités organisatrices pour alimenter la construction du service public de la petite enfance. </a:t>
            </a:r>
            <a:endParaRPr lang="fr-FR" sz="1467" dirty="0">
              <a:solidFill>
                <a:srgbClr val="000000"/>
              </a:solidFill>
              <a:latin typeface="Marianne" panose="02000000000000000000" pitchFamily="2" charset="0"/>
            </a:endParaRPr>
          </a:p>
        </p:txBody>
      </p:sp>
      <p:sp>
        <p:nvSpPr>
          <p:cNvPr id="40" name="Rectangle à coins arrondis 10">
            <a:extLst>
              <a:ext uri="{FF2B5EF4-FFF2-40B4-BE49-F238E27FC236}">
                <a16:creationId xmlns:a16="http://schemas.microsoft.com/office/drawing/2014/main" id="{E308B23A-6BFD-4466-A458-1736CD982A48}"/>
              </a:ext>
            </a:extLst>
          </p:cNvPr>
          <p:cNvSpPr/>
          <p:nvPr/>
        </p:nvSpPr>
        <p:spPr>
          <a:xfrm>
            <a:off x="490060" y="2966427"/>
            <a:ext cx="2880000" cy="336000"/>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9994" defTabSz="1219170"/>
            <a:r>
              <a:rPr lang="fr-FR" sz="1467" b="1" dirty="0">
                <a:solidFill>
                  <a:srgbClr val="FFFFFF"/>
                </a:solidFill>
                <a:latin typeface="Marianne" panose="02000000000000000000" pitchFamily="2" charset="0"/>
              </a:rPr>
              <a:t>Que faire?</a:t>
            </a:r>
          </a:p>
        </p:txBody>
      </p:sp>
      <p:pic>
        <p:nvPicPr>
          <p:cNvPr id="2" name="Image 1" descr="Une image contenant texte, Police, Graphique, logo&#10;&#10;Description générée automatiquement">
            <a:extLst>
              <a:ext uri="{FF2B5EF4-FFF2-40B4-BE49-F238E27FC236}">
                <a16:creationId xmlns:a16="http://schemas.microsoft.com/office/drawing/2014/main" id="{C5EE1350-CE36-5B73-EE87-4493CF8700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307755" y="179706"/>
            <a:ext cx="3890571" cy="1075613"/>
          </a:xfrm>
          <a:prstGeom prst="rect">
            <a:avLst/>
          </a:prstGeom>
        </p:spPr>
      </p:pic>
    </p:spTree>
    <p:extLst>
      <p:ext uri="{BB962C8B-B14F-4D97-AF65-F5344CB8AC3E}">
        <p14:creationId xmlns:p14="http://schemas.microsoft.com/office/powerpoint/2010/main" val="8403358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ECDC5587-B362-4C92-9A38-7E2CCCA4F9EE}"/>
              </a:ext>
            </a:extLst>
          </p:cNvPr>
          <p:cNvSpPr/>
          <p:nvPr/>
        </p:nvSpPr>
        <p:spPr>
          <a:xfrm>
            <a:off x="404460" y="6288471"/>
            <a:ext cx="11467707" cy="212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dirty="0">
              <a:solidFill>
                <a:srgbClr val="FFFFFF"/>
              </a:solidFill>
              <a:latin typeface="Arial"/>
            </a:endParaRPr>
          </a:p>
        </p:txBody>
      </p:sp>
      <p:sp>
        <p:nvSpPr>
          <p:cNvPr id="32" name="Rectangle 31">
            <a:extLst>
              <a:ext uri="{FF2B5EF4-FFF2-40B4-BE49-F238E27FC236}">
                <a16:creationId xmlns:a16="http://schemas.microsoft.com/office/drawing/2014/main" id="{DECA017C-B431-4DA2-9950-CFD4D12552C6}"/>
              </a:ext>
            </a:extLst>
          </p:cNvPr>
          <p:cNvSpPr/>
          <p:nvPr/>
        </p:nvSpPr>
        <p:spPr>
          <a:xfrm flipV="1">
            <a:off x="11708357" y="2884713"/>
            <a:ext cx="189160" cy="34530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667">
              <a:solidFill>
                <a:srgbClr val="FFFFFF"/>
              </a:solidFill>
              <a:latin typeface="Arial"/>
            </a:endParaRPr>
          </a:p>
        </p:txBody>
      </p:sp>
      <p:sp>
        <p:nvSpPr>
          <p:cNvPr id="423" name="Titre 7">
            <a:extLst>
              <a:ext uri="{FF2B5EF4-FFF2-40B4-BE49-F238E27FC236}">
                <a16:creationId xmlns:a16="http://schemas.microsoft.com/office/drawing/2014/main" id="{DB8929C2-90A8-4876-88C6-FE4A19982B61}"/>
              </a:ext>
            </a:extLst>
          </p:cNvPr>
          <p:cNvSpPr txBox="1">
            <a:spLocks/>
          </p:cNvSpPr>
          <p:nvPr/>
        </p:nvSpPr>
        <p:spPr>
          <a:xfrm>
            <a:off x="4599296" y="509471"/>
            <a:ext cx="7269540" cy="772584"/>
          </a:xfrm>
          <a:prstGeom prst="rect">
            <a:avLst/>
          </a:prstGeom>
        </p:spPr>
        <p:txBody>
          <a:bodyPr vert="horz" lIns="121920" tIns="60960" rIns="121920" bIns="60960" rtlCol="0" anchor="ctr">
            <a:noAutofit/>
          </a:bodyPr>
          <a:lstStyle>
            <a:lvl1pPr marL="14288" indent="0" algn="ctr" defTabSz="914400" rtl="0" eaLnBrk="1" latinLnBrk="0" hangingPunct="1">
              <a:lnSpc>
                <a:spcPct val="90000"/>
              </a:lnSpc>
              <a:spcBef>
                <a:spcPct val="0"/>
              </a:spcBef>
              <a:buNone/>
              <a:tabLst/>
              <a:defRPr sz="4500" b="1" kern="1200">
                <a:solidFill>
                  <a:srgbClr val="002060"/>
                </a:solidFill>
                <a:latin typeface="Marianne" charset="0"/>
                <a:ea typeface="Marianne" charset="0"/>
                <a:cs typeface="Marianne" charset="0"/>
              </a:defRPr>
            </a:lvl1pPr>
          </a:lstStyle>
          <a:p>
            <a:pPr marL="19050" algn="l" defTabSz="1219170"/>
            <a:r>
              <a:rPr lang="fr-FR" sz="2400" dirty="0">
                <a:latin typeface="Marianne" panose="02000000000000000000" pitchFamily="2" charset="0"/>
              </a:rPr>
              <a:t>Les bonnes pratiques du vade-mecum (liste non exhaustive : vous pouvez renseigner des actions ne figurant pas dans cette liste)</a:t>
            </a:r>
          </a:p>
        </p:txBody>
      </p:sp>
      <p:sp>
        <p:nvSpPr>
          <p:cNvPr id="4" name="Espace réservé du numéro de diapositive 3"/>
          <p:cNvSpPr>
            <a:spLocks noGrp="1"/>
          </p:cNvSpPr>
          <p:nvPr>
            <p:ph type="sldNum" sz="quarter" idx="12"/>
          </p:nvPr>
        </p:nvSpPr>
        <p:spPr/>
        <p:txBody>
          <a:bodyPr/>
          <a:lstStyle/>
          <a:p>
            <a:pPr defTabSz="1219170"/>
            <a:fld id="{9CC89C03-0C7C-4A41-AD81-9335F7231C5E}" type="slidenum">
              <a:rPr lang="fr-FR">
                <a:solidFill>
                  <a:srgbClr val="000000"/>
                </a:solidFill>
                <a:latin typeface="Arial"/>
              </a:rPr>
              <a:pPr defTabSz="1219170"/>
              <a:t>4</a:t>
            </a:fld>
            <a:endParaRPr lang="fr-FR" dirty="0">
              <a:solidFill>
                <a:srgbClr val="000000"/>
              </a:solidFill>
              <a:latin typeface="Arial"/>
            </a:endParaRPr>
          </a:p>
        </p:txBody>
      </p:sp>
      <p:sp>
        <p:nvSpPr>
          <p:cNvPr id="21" name="ZoneTexte 20">
            <a:extLst>
              <a:ext uri="{FF2B5EF4-FFF2-40B4-BE49-F238E27FC236}">
                <a16:creationId xmlns:a16="http://schemas.microsoft.com/office/drawing/2014/main" id="{CC2729F3-C4B4-475E-9C36-5A3400C08F9F}"/>
              </a:ext>
            </a:extLst>
          </p:cNvPr>
          <p:cNvSpPr txBox="1"/>
          <p:nvPr/>
        </p:nvSpPr>
        <p:spPr>
          <a:xfrm>
            <a:off x="809721" y="2205001"/>
            <a:ext cx="10657184" cy="672000"/>
          </a:xfrm>
          <a:prstGeom prst="roundRect">
            <a:avLst/>
          </a:prstGeom>
          <a:solidFill>
            <a:schemeClr val="bg1">
              <a:lumMod val="95000"/>
            </a:schemeClr>
          </a:solidFill>
          <a:ln>
            <a:noFill/>
          </a:ln>
        </p:spPr>
        <p:txBody>
          <a:bodyPr wrap="square" anchor="ctr">
            <a:noAutofit/>
          </a:bodyPr>
          <a:lstStyle>
            <a:defPPr>
              <a:defRPr lang="fr-FR"/>
            </a:defPPr>
            <a:lvl1pPr>
              <a:defRPr sz="700">
                <a:solidFill>
                  <a:schemeClr val="tx2">
                    <a:lumMod val="60000"/>
                    <a:lumOff val="40000"/>
                  </a:schemeClr>
                </a:solidFill>
              </a:defRPr>
            </a:lvl1pPr>
          </a:lstStyle>
          <a:p>
            <a:pPr algn="just" defTabSz="1219170"/>
            <a:r>
              <a:rPr lang="fr-FR" sz="1200" i="1" dirty="0">
                <a:solidFill>
                  <a:srgbClr val="000000"/>
                </a:solidFill>
                <a:latin typeface="Marianne" panose="02000000000000000000" pitchFamily="2" charset="0"/>
              </a:rPr>
              <a:t>Exemple : modalités de construction de la stratégie éducative pour les moins de 3 ans, modalités de travail avec le CDSF, modalités de travail AO/PMI sur la montée en qualité du réseau, partenariats avec le secteur culturel sur les parcours culture pour les moins de 3 ans, partenariats avec les acteurs de la société civile pour le développement de projets (visites pédagogiques, sorites découverte…), partenariats avec les acteurs du médico-social, du handicap, du sport…</a:t>
            </a:r>
          </a:p>
        </p:txBody>
      </p:sp>
      <p:sp>
        <p:nvSpPr>
          <p:cNvPr id="29" name="Rectangle : coins arrondis 28">
            <a:extLst>
              <a:ext uri="{FF2B5EF4-FFF2-40B4-BE49-F238E27FC236}">
                <a16:creationId xmlns:a16="http://schemas.microsoft.com/office/drawing/2014/main" id="{2AC41F7C-FDE8-4469-8D90-10B7E342CCCC}"/>
              </a:ext>
            </a:extLst>
          </p:cNvPr>
          <p:cNvSpPr/>
          <p:nvPr/>
        </p:nvSpPr>
        <p:spPr>
          <a:xfrm>
            <a:off x="667280" y="1698411"/>
            <a:ext cx="5760000" cy="384000"/>
          </a:xfrm>
          <a:prstGeom prst="roundRect">
            <a:avLst/>
          </a:prstGeom>
          <a:solidFill>
            <a:srgbClr val="16179B"/>
          </a:solidFill>
          <a:effectLst>
            <a:outerShdw blurRad="50800" dist="38100" dir="2700000" algn="tl" rotWithShape="0">
              <a:prstClr val="black">
                <a:alpha val="40000"/>
              </a:prstClr>
            </a:outerShdw>
          </a:effectLst>
        </p:spPr>
        <p:txBody>
          <a:bodyPr lIns="48000" tIns="48000" rIns="48000" bIns="48000" anchor="ctr">
            <a:noAutofit/>
          </a:bodyPr>
          <a:lstStyle/>
          <a:p>
            <a:pPr marL="239994" defTabSz="2347900">
              <a:lnSpc>
                <a:spcPct val="90000"/>
              </a:lnSpc>
              <a:spcBef>
                <a:spcPct val="0"/>
              </a:spcBef>
            </a:pPr>
            <a:r>
              <a:rPr lang="fr-FR" sz="1400" b="1" dirty="0">
                <a:solidFill>
                  <a:schemeClr val="bg1"/>
                </a:solidFill>
                <a:latin typeface="Marianne" panose="02000000000000000000" pitchFamily="2" charset="0"/>
              </a:rPr>
              <a:t>Gouvernance partenariale</a:t>
            </a:r>
          </a:p>
        </p:txBody>
      </p:sp>
      <p:sp>
        <p:nvSpPr>
          <p:cNvPr id="41" name="Ellipse 40">
            <a:extLst>
              <a:ext uri="{FF2B5EF4-FFF2-40B4-BE49-F238E27FC236}">
                <a16:creationId xmlns:a16="http://schemas.microsoft.com/office/drawing/2014/main" id="{D731730F-842F-4502-8A61-739F9D6DCF3D}"/>
              </a:ext>
            </a:extLst>
          </p:cNvPr>
          <p:cNvSpPr/>
          <p:nvPr/>
        </p:nvSpPr>
        <p:spPr>
          <a:xfrm>
            <a:off x="483644" y="960321"/>
            <a:ext cx="518473" cy="44044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dirty="0">
              <a:solidFill>
                <a:srgbClr val="FFFFFF"/>
              </a:solidFill>
              <a:latin typeface="Arial"/>
            </a:endParaRPr>
          </a:p>
        </p:txBody>
      </p:sp>
      <p:pic>
        <p:nvPicPr>
          <p:cNvPr id="45" name="Image 44">
            <a:extLst>
              <a:ext uri="{FF2B5EF4-FFF2-40B4-BE49-F238E27FC236}">
                <a16:creationId xmlns:a16="http://schemas.microsoft.com/office/drawing/2014/main" id="{ECAB81C3-C6F3-4F7D-B479-CAE9068115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037" y="840400"/>
            <a:ext cx="668523" cy="669277"/>
          </a:xfrm>
          <a:prstGeom prst="rect">
            <a:avLst/>
          </a:prstGeom>
        </p:spPr>
      </p:pic>
      <p:sp>
        <p:nvSpPr>
          <p:cNvPr id="16" name="Titre 4">
            <a:extLst>
              <a:ext uri="{FF2B5EF4-FFF2-40B4-BE49-F238E27FC236}">
                <a16:creationId xmlns:a16="http://schemas.microsoft.com/office/drawing/2014/main" id="{432EAA38-FBFB-434C-8CB8-B5BE0378E6B9}"/>
              </a:ext>
            </a:extLst>
          </p:cNvPr>
          <p:cNvSpPr txBox="1">
            <a:spLocks/>
          </p:cNvSpPr>
          <p:nvPr/>
        </p:nvSpPr>
        <p:spPr>
          <a:xfrm>
            <a:off x="809721" y="3407448"/>
            <a:ext cx="10657184" cy="783525"/>
          </a:xfrm>
          <a:prstGeom prst="roundRect">
            <a:avLst/>
          </a:prstGeom>
          <a:solidFill>
            <a:schemeClr val="bg1">
              <a:lumMod val="95000"/>
            </a:schemeClr>
          </a:solidFill>
          <a:ln>
            <a:noFill/>
          </a:ln>
        </p:spPr>
        <p:txBody>
          <a:bodyPr wrap="square" bIns="0" anchor="ctr">
            <a:noAutofit/>
          </a:bodyPr>
          <a:lstStyle>
            <a:defPPr>
              <a:defRPr lang="fr-FR"/>
            </a:defPPr>
            <a:lvl1pPr>
              <a:defRPr sz="1100"/>
            </a:lvl1pPr>
          </a:lstStyle>
          <a:p>
            <a:pPr algn="just" defTabSz="1219170"/>
            <a:r>
              <a:rPr lang="fr-FR" sz="1200" i="1" dirty="0">
                <a:solidFill>
                  <a:srgbClr val="000000"/>
                </a:solidFill>
                <a:latin typeface="Marianne" panose="02000000000000000000" pitchFamily="2" charset="0"/>
              </a:rPr>
              <a:t>Exemple : réunions régulières avec l’ensemble des modes d’accueil du territoire, choix de thèmes de travail communs pour le mois/l’année/le semestre pour tous les modes d’accueil du territoire, modalités de travail avec les gestionnaires d’EAJE privés marchands, modalités de travail avec les services de garde à domicile…</a:t>
            </a:r>
          </a:p>
        </p:txBody>
      </p:sp>
      <p:sp>
        <p:nvSpPr>
          <p:cNvPr id="42" name="Ellipse 41">
            <a:extLst>
              <a:ext uri="{FF2B5EF4-FFF2-40B4-BE49-F238E27FC236}">
                <a16:creationId xmlns:a16="http://schemas.microsoft.com/office/drawing/2014/main" id="{9B26DDF1-3C20-42D0-B46B-2B8FDDE53E79}"/>
              </a:ext>
            </a:extLst>
          </p:cNvPr>
          <p:cNvSpPr/>
          <p:nvPr/>
        </p:nvSpPr>
        <p:spPr>
          <a:xfrm>
            <a:off x="483644" y="3065155"/>
            <a:ext cx="518473" cy="44044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dirty="0">
              <a:solidFill>
                <a:srgbClr val="FFFFFF"/>
              </a:solidFill>
              <a:latin typeface="Arial"/>
            </a:endParaRPr>
          </a:p>
        </p:txBody>
      </p:sp>
      <p:sp>
        <p:nvSpPr>
          <p:cNvPr id="23" name="ZoneTexte 22">
            <a:extLst>
              <a:ext uri="{FF2B5EF4-FFF2-40B4-BE49-F238E27FC236}">
                <a16:creationId xmlns:a16="http://schemas.microsoft.com/office/drawing/2014/main" id="{2022279E-0C44-41FC-8B40-269184FDD09A}"/>
              </a:ext>
            </a:extLst>
          </p:cNvPr>
          <p:cNvSpPr txBox="1"/>
          <p:nvPr/>
        </p:nvSpPr>
        <p:spPr>
          <a:xfrm>
            <a:off x="742880" y="4593258"/>
            <a:ext cx="10657184" cy="672000"/>
          </a:xfrm>
          <a:prstGeom prst="roundRect">
            <a:avLst/>
          </a:prstGeom>
          <a:solidFill>
            <a:schemeClr val="bg1">
              <a:lumMod val="95000"/>
            </a:schemeClr>
          </a:solidFill>
          <a:ln>
            <a:noFill/>
          </a:ln>
        </p:spPr>
        <p:txBody>
          <a:bodyPr wrap="square" anchor="ctr">
            <a:noAutofit/>
          </a:bodyPr>
          <a:lstStyle>
            <a:defPPr>
              <a:defRPr lang="fr-FR"/>
            </a:defPPr>
            <a:lvl1pPr>
              <a:defRPr sz="700">
                <a:solidFill>
                  <a:schemeClr val="tx2">
                    <a:lumMod val="60000"/>
                    <a:lumOff val="40000"/>
                  </a:schemeClr>
                </a:solidFill>
              </a:defRPr>
            </a:lvl1pPr>
          </a:lstStyle>
          <a:p>
            <a:pPr algn="just" defTabSz="1219170"/>
            <a:endParaRPr lang="fr-FR" sz="1200" dirty="0">
              <a:solidFill>
                <a:srgbClr val="000000"/>
              </a:solidFill>
              <a:latin typeface="Marianne" panose="02000000000000000000" pitchFamily="2" charset="0"/>
            </a:endParaRPr>
          </a:p>
          <a:p>
            <a:pPr algn="just" defTabSz="1219170"/>
            <a:r>
              <a:rPr lang="fr-FR" sz="1200" i="1" dirty="0">
                <a:solidFill>
                  <a:srgbClr val="000000"/>
                </a:solidFill>
                <a:latin typeface="Marianne" panose="02000000000000000000" pitchFamily="2" charset="0"/>
              </a:rPr>
              <a:t>Exemple : organisation de formations communes/</a:t>
            </a:r>
            <a:r>
              <a:rPr lang="fr-FR" sz="1200" i="1" dirty="0" err="1">
                <a:solidFill>
                  <a:srgbClr val="000000"/>
                </a:solidFill>
                <a:latin typeface="Marianne" panose="02000000000000000000" pitchFamily="2" charset="0"/>
              </a:rPr>
              <a:t>intercatégorielles</a:t>
            </a:r>
            <a:r>
              <a:rPr lang="fr-FR" sz="1200" i="1" dirty="0">
                <a:solidFill>
                  <a:srgbClr val="000000"/>
                </a:solidFill>
                <a:latin typeface="Marianne" panose="02000000000000000000" pitchFamily="2" charset="0"/>
              </a:rPr>
              <a:t> pour les professionnels de différents modes d’accueil ou réseaux, modalités d’intégration des auxiliaires parentaux dans les RPE, liens avec les universités/laboratoires de recherche, projets de recherche-action, organisation d’analyse de la pratique professionnelle pour les directions d’établissement…</a:t>
            </a:r>
          </a:p>
        </p:txBody>
      </p:sp>
      <p:sp>
        <p:nvSpPr>
          <p:cNvPr id="43" name="Ellipse 42">
            <a:extLst>
              <a:ext uri="{FF2B5EF4-FFF2-40B4-BE49-F238E27FC236}">
                <a16:creationId xmlns:a16="http://schemas.microsoft.com/office/drawing/2014/main" id="{F3D2A4CE-25B6-4A92-902C-0ACBEBD60223}"/>
              </a:ext>
            </a:extLst>
          </p:cNvPr>
          <p:cNvSpPr/>
          <p:nvPr/>
        </p:nvSpPr>
        <p:spPr>
          <a:xfrm>
            <a:off x="438520" y="4225719"/>
            <a:ext cx="518473" cy="44044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dirty="0">
              <a:solidFill>
                <a:srgbClr val="FFFFFF"/>
              </a:solidFill>
              <a:latin typeface="Arial"/>
            </a:endParaRPr>
          </a:p>
        </p:txBody>
      </p:sp>
      <p:sp>
        <p:nvSpPr>
          <p:cNvPr id="27" name="ZoneTexte 26">
            <a:extLst>
              <a:ext uri="{FF2B5EF4-FFF2-40B4-BE49-F238E27FC236}">
                <a16:creationId xmlns:a16="http://schemas.microsoft.com/office/drawing/2014/main" id="{284F1B69-DC3F-4050-8130-778E205C4DA9}"/>
              </a:ext>
            </a:extLst>
          </p:cNvPr>
          <p:cNvSpPr txBox="1"/>
          <p:nvPr/>
        </p:nvSpPr>
        <p:spPr>
          <a:xfrm>
            <a:off x="727567" y="5717916"/>
            <a:ext cx="10657184" cy="672000"/>
          </a:xfrm>
          <a:prstGeom prst="roundRect">
            <a:avLst/>
          </a:prstGeom>
          <a:solidFill>
            <a:schemeClr val="bg1">
              <a:lumMod val="95000"/>
            </a:schemeClr>
          </a:solidFill>
          <a:ln>
            <a:noFill/>
          </a:ln>
        </p:spPr>
        <p:txBody>
          <a:bodyPr wrap="square" anchor="ctr">
            <a:noAutofit/>
          </a:bodyPr>
          <a:lstStyle>
            <a:defPPr>
              <a:defRPr lang="fr-FR"/>
            </a:defPPr>
            <a:lvl1pPr>
              <a:defRPr sz="700">
                <a:solidFill>
                  <a:schemeClr val="tx2">
                    <a:lumMod val="60000"/>
                    <a:lumOff val="40000"/>
                  </a:schemeClr>
                </a:solidFill>
              </a:defRPr>
            </a:lvl1pPr>
          </a:lstStyle>
          <a:p>
            <a:pPr defTabSz="1219170"/>
            <a:r>
              <a:rPr lang="fr-FR" sz="1200" i="1" dirty="0">
                <a:solidFill>
                  <a:srgbClr val="000000"/>
                </a:solidFill>
                <a:latin typeface="Marianne" panose="02000000000000000000" pitchFamily="2" charset="0"/>
              </a:rPr>
              <a:t>Exemple : élaboration de référentiels d’évaluation, évaluations croisées entre établissements et réseaux, mise en place d’outils de suivi de l’évaluation, partenariats avec des prestataires…</a:t>
            </a:r>
          </a:p>
        </p:txBody>
      </p:sp>
      <p:pic>
        <p:nvPicPr>
          <p:cNvPr id="3" name="Image 2" descr="Une image contenant texte, Police, Graphique, logo&#10;&#10;Description générée automatiquement">
            <a:extLst>
              <a:ext uri="{FF2B5EF4-FFF2-40B4-BE49-F238E27FC236}">
                <a16:creationId xmlns:a16="http://schemas.microsoft.com/office/drawing/2014/main" id="{794A76C3-A03A-8292-5703-B852C0719B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307755" y="179706"/>
            <a:ext cx="3890571" cy="1075613"/>
          </a:xfrm>
          <a:prstGeom prst="rect">
            <a:avLst/>
          </a:prstGeom>
        </p:spPr>
      </p:pic>
      <p:sp>
        <p:nvSpPr>
          <p:cNvPr id="7" name="Rectangle : coins arrondis 6">
            <a:extLst>
              <a:ext uri="{FF2B5EF4-FFF2-40B4-BE49-F238E27FC236}">
                <a16:creationId xmlns:a16="http://schemas.microsoft.com/office/drawing/2014/main" id="{81E3A0FA-D280-FBA7-0CA0-C7C8604B8530}"/>
              </a:ext>
            </a:extLst>
          </p:cNvPr>
          <p:cNvSpPr/>
          <p:nvPr/>
        </p:nvSpPr>
        <p:spPr>
          <a:xfrm>
            <a:off x="727567" y="5386052"/>
            <a:ext cx="5760000" cy="384000"/>
          </a:xfrm>
          <a:prstGeom prst="roundRect">
            <a:avLst/>
          </a:prstGeom>
          <a:solidFill>
            <a:srgbClr val="16179B"/>
          </a:solidFill>
          <a:effectLst>
            <a:outerShdw blurRad="50800" dist="38100" dir="2700000" algn="tl" rotWithShape="0">
              <a:prstClr val="black">
                <a:alpha val="40000"/>
              </a:prstClr>
            </a:outerShdw>
          </a:effectLst>
        </p:spPr>
        <p:txBody>
          <a:bodyPr lIns="48000" tIns="48000" rIns="48000" bIns="48000" anchor="ctr">
            <a:noAutofit/>
          </a:bodyPr>
          <a:lstStyle/>
          <a:p>
            <a:pPr marL="239994" defTabSz="2347900">
              <a:lnSpc>
                <a:spcPct val="90000"/>
              </a:lnSpc>
              <a:spcBef>
                <a:spcPct val="0"/>
              </a:spcBef>
            </a:pPr>
            <a:r>
              <a:rPr lang="fr-FR" sz="1400" b="1" dirty="0">
                <a:solidFill>
                  <a:schemeClr val="bg1"/>
                </a:solidFill>
                <a:latin typeface="Marianne" panose="02000000000000000000" pitchFamily="2" charset="0"/>
              </a:rPr>
              <a:t>Démarches d’évaluation </a:t>
            </a:r>
          </a:p>
        </p:txBody>
      </p:sp>
      <p:sp>
        <p:nvSpPr>
          <p:cNvPr id="8" name="Rectangle : coins arrondis 7">
            <a:extLst>
              <a:ext uri="{FF2B5EF4-FFF2-40B4-BE49-F238E27FC236}">
                <a16:creationId xmlns:a16="http://schemas.microsoft.com/office/drawing/2014/main" id="{8DABEFE7-AE3D-D340-8522-1BA8AD18AB88}"/>
              </a:ext>
            </a:extLst>
          </p:cNvPr>
          <p:cNvSpPr/>
          <p:nvPr/>
        </p:nvSpPr>
        <p:spPr>
          <a:xfrm>
            <a:off x="742880" y="4182659"/>
            <a:ext cx="5760000" cy="384000"/>
          </a:xfrm>
          <a:prstGeom prst="roundRect">
            <a:avLst/>
          </a:prstGeom>
          <a:solidFill>
            <a:srgbClr val="16179B"/>
          </a:solidFill>
          <a:effectLst>
            <a:outerShdw blurRad="50800" dist="38100" dir="2700000" algn="tl" rotWithShape="0">
              <a:prstClr val="black">
                <a:alpha val="40000"/>
              </a:prstClr>
            </a:outerShdw>
          </a:effectLst>
        </p:spPr>
        <p:txBody>
          <a:bodyPr lIns="48000" tIns="48000" rIns="48000" bIns="48000" anchor="ctr">
            <a:noAutofit/>
          </a:bodyPr>
          <a:lstStyle/>
          <a:p>
            <a:pPr marL="239994" defTabSz="2347900">
              <a:lnSpc>
                <a:spcPct val="90000"/>
              </a:lnSpc>
              <a:spcBef>
                <a:spcPct val="0"/>
              </a:spcBef>
            </a:pPr>
            <a:r>
              <a:rPr lang="fr-FR" sz="1400" b="1" dirty="0">
                <a:solidFill>
                  <a:schemeClr val="bg1"/>
                </a:solidFill>
                <a:latin typeface="Marianne" panose="02000000000000000000" pitchFamily="2" charset="0"/>
              </a:rPr>
              <a:t>Pratiques d’information et de formation des professionnels</a:t>
            </a:r>
          </a:p>
        </p:txBody>
      </p:sp>
      <p:sp>
        <p:nvSpPr>
          <p:cNvPr id="9" name="Rectangle : coins arrondis 8">
            <a:extLst>
              <a:ext uri="{FF2B5EF4-FFF2-40B4-BE49-F238E27FC236}">
                <a16:creationId xmlns:a16="http://schemas.microsoft.com/office/drawing/2014/main" id="{DBEF4D60-4227-C3B9-5AF3-59214C087015}"/>
              </a:ext>
            </a:extLst>
          </p:cNvPr>
          <p:cNvSpPr/>
          <p:nvPr/>
        </p:nvSpPr>
        <p:spPr>
          <a:xfrm>
            <a:off x="667280" y="3065155"/>
            <a:ext cx="5760000" cy="384000"/>
          </a:xfrm>
          <a:prstGeom prst="roundRect">
            <a:avLst/>
          </a:prstGeom>
          <a:solidFill>
            <a:srgbClr val="16179B"/>
          </a:solidFill>
          <a:effectLst>
            <a:outerShdw blurRad="50800" dist="38100" dir="2700000" algn="tl" rotWithShape="0">
              <a:prstClr val="black">
                <a:alpha val="40000"/>
              </a:prstClr>
            </a:outerShdw>
          </a:effectLst>
        </p:spPr>
        <p:txBody>
          <a:bodyPr lIns="48000" tIns="48000" rIns="48000" bIns="48000" anchor="ctr">
            <a:noAutofit/>
          </a:bodyPr>
          <a:lstStyle/>
          <a:p>
            <a:pPr marL="239994" defTabSz="2347900">
              <a:lnSpc>
                <a:spcPct val="90000"/>
              </a:lnSpc>
              <a:spcBef>
                <a:spcPct val="0"/>
              </a:spcBef>
            </a:pPr>
            <a:r>
              <a:rPr lang="fr-FR" sz="1400" b="1" dirty="0">
                <a:solidFill>
                  <a:schemeClr val="bg1"/>
                </a:solidFill>
                <a:latin typeface="Marianne" panose="02000000000000000000" pitchFamily="2" charset="0"/>
              </a:rPr>
              <a:t>Méthodes d’animation du réseau des modes d’accueil</a:t>
            </a:r>
          </a:p>
        </p:txBody>
      </p:sp>
    </p:spTree>
    <p:extLst>
      <p:ext uri="{BB962C8B-B14F-4D97-AF65-F5344CB8AC3E}">
        <p14:creationId xmlns:p14="http://schemas.microsoft.com/office/powerpoint/2010/main" val="15930563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ECDC5587-B362-4C92-9A38-7E2CCCA4F9EE}"/>
              </a:ext>
            </a:extLst>
          </p:cNvPr>
          <p:cNvSpPr/>
          <p:nvPr/>
        </p:nvSpPr>
        <p:spPr>
          <a:xfrm>
            <a:off x="404460" y="6288471"/>
            <a:ext cx="11467707" cy="212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dirty="0">
              <a:solidFill>
                <a:srgbClr val="FFFFFF"/>
              </a:solidFill>
              <a:latin typeface="Arial"/>
            </a:endParaRPr>
          </a:p>
        </p:txBody>
      </p:sp>
      <p:sp>
        <p:nvSpPr>
          <p:cNvPr id="32" name="Rectangle 31">
            <a:extLst>
              <a:ext uri="{FF2B5EF4-FFF2-40B4-BE49-F238E27FC236}">
                <a16:creationId xmlns:a16="http://schemas.microsoft.com/office/drawing/2014/main" id="{DECA017C-B431-4DA2-9950-CFD4D12552C6}"/>
              </a:ext>
            </a:extLst>
          </p:cNvPr>
          <p:cNvSpPr/>
          <p:nvPr/>
        </p:nvSpPr>
        <p:spPr>
          <a:xfrm flipV="1">
            <a:off x="11708357" y="2884713"/>
            <a:ext cx="189160" cy="34530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667">
              <a:solidFill>
                <a:srgbClr val="FFFFFF"/>
              </a:solidFill>
              <a:latin typeface="Arial"/>
            </a:endParaRPr>
          </a:p>
        </p:txBody>
      </p:sp>
      <p:sp>
        <p:nvSpPr>
          <p:cNvPr id="423" name="Titre 7">
            <a:extLst>
              <a:ext uri="{FF2B5EF4-FFF2-40B4-BE49-F238E27FC236}">
                <a16:creationId xmlns:a16="http://schemas.microsoft.com/office/drawing/2014/main" id="{DB8929C2-90A8-4876-88C6-FE4A19982B61}"/>
              </a:ext>
            </a:extLst>
          </p:cNvPr>
          <p:cNvSpPr txBox="1">
            <a:spLocks/>
          </p:cNvSpPr>
          <p:nvPr/>
        </p:nvSpPr>
        <p:spPr>
          <a:xfrm>
            <a:off x="4599296" y="509471"/>
            <a:ext cx="7269540" cy="772584"/>
          </a:xfrm>
          <a:prstGeom prst="rect">
            <a:avLst/>
          </a:prstGeom>
        </p:spPr>
        <p:txBody>
          <a:bodyPr vert="horz" lIns="121920" tIns="60960" rIns="121920" bIns="60960" rtlCol="0" anchor="ctr">
            <a:noAutofit/>
          </a:bodyPr>
          <a:lstStyle>
            <a:lvl1pPr marL="14288" indent="0" algn="ctr" defTabSz="914400" rtl="0" eaLnBrk="1" latinLnBrk="0" hangingPunct="1">
              <a:lnSpc>
                <a:spcPct val="90000"/>
              </a:lnSpc>
              <a:spcBef>
                <a:spcPct val="0"/>
              </a:spcBef>
              <a:buNone/>
              <a:tabLst/>
              <a:defRPr sz="4500" b="1" kern="1200">
                <a:solidFill>
                  <a:srgbClr val="002060"/>
                </a:solidFill>
                <a:latin typeface="Marianne" charset="0"/>
                <a:ea typeface="Marianne" charset="0"/>
                <a:cs typeface="Marianne" charset="0"/>
              </a:defRPr>
            </a:lvl1pPr>
          </a:lstStyle>
          <a:p>
            <a:pPr marL="19050" algn="l" defTabSz="1219170"/>
            <a:r>
              <a:rPr lang="fr-FR" sz="2400" dirty="0">
                <a:latin typeface="Marianne" panose="02000000000000000000" pitchFamily="2" charset="0"/>
              </a:rPr>
              <a:t>Les bonnes pratiques du vade-mecum (liste non exhaustive : vous pouvez renseigner des actions ne figurant pas dans cette liste)</a:t>
            </a:r>
          </a:p>
        </p:txBody>
      </p:sp>
      <p:sp>
        <p:nvSpPr>
          <p:cNvPr id="4" name="Espace réservé du numéro de diapositive 3"/>
          <p:cNvSpPr>
            <a:spLocks noGrp="1"/>
          </p:cNvSpPr>
          <p:nvPr>
            <p:ph type="sldNum" sz="quarter" idx="12"/>
          </p:nvPr>
        </p:nvSpPr>
        <p:spPr/>
        <p:txBody>
          <a:bodyPr/>
          <a:lstStyle/>
          <a:p>
            <a:pPr defTabSz="1219170"/>
            <a:fld id="{9CC89C03-0C7C-4A41-AD81-9335F7231C5E}" type="slidenum">
              <a:rPr lang="fr-FR">
                <a:solidFill>
                  <a:srgbClr val="000000"/>
                </a:solidFill>
                <a:latin typeface="Arial"/>
              </a:rPr>
              <a:pPr defTabSz="1219170"/>
              <a:t>5</a:t>
            </a:fld>
            <a:endParaRPr lang="fr-FR" dirty="0">
              <a:solidFill>
                <a:srgbClr val="000000"/>
              </a:solidFill>
              <a:latin typeface="Arial"/>
            </a:endParaRPr>
          </a:p>
        </p:txBody>
      </p:sp>
      <p:sp>
        <p:nvSpPr>
          <p:cNvPr id="21" name="ZoneTexte 20">
            <a:extLst>
              <a:ext uri="{FF2B5EF4-FFF2-40B4-BE49-F238E27FC236}">
                <a16:creationId xmlns:a16="http://schemas.microsoft.com/office/drawing/2014/main" id="{CC2729F3-C4B4-475E-9C36-5A3400C08F9F}"/>
              </a:ext>
            </a:extLst>
          </p:cNvPr>
          <p:cNvSpPr txBox="1"/>
          <p:nvPr/>
        </p:nvSpPr>
        <p:spPr>
          <a:xfrm>
            <a:off x="809721" y="2205001"/>
            <a:ext cx="10657184" cy="1150566"/>
          </a:xfrm>
          <a:prstGeom prst="roundRect">
            <a:avLst/>
          </a:prstGeom>
          <a:solidFill>
            <a:schemeClr val="bg1">
              <a:lumMod val="95000"/>
            </a:schemeClr>
          </a:solidFill>
          <a:ln>
            <a:noFill/>
          </a:ln>
        </p:spPr>
        <p:txBody>
          <a:bodyPr wrap="square" anchor="ctr">
            <a:noAutofit/>
          </a:bodyPr>
          <a:lstStyle>
            <a:defPPr>
              <a:defRPr lang="fr-FR"/>
            </a:defPPr>
            <a:lvl1pPr>
              <a:defRPr sz="700">
                <a:solidFill>
                  <a:schemeClr val="tx2">
                    <a:lumMod val="60000"/>
                    <a:lumOff val="40000"/>
                  </a:schemeClr>
                </a:solidFill>
              </a:defRPr>
            </a:lvl1pPr>
          </a:lstStyle>
          <a:p>
            <a:pPr algn="just" defTabSz="1219170"/>
            <a:r>
              <a:rPr lang="fr-FR" sz="1200" i="1" dirty="0">
                <a:solidFill>
                  <a:srgbClr val="000000"/>
                </a:solidFill>
                <a:latin typeface="Marianne" panose="02000000000000000000" pitchFamily="2" charset="0"/>
              </a:rPr>
              <a:t>Exemple : formations </a:t>
            </a:r>
            <a:r>
              <a:rPr lang="fr-FR" sz="1200" i="1" dirty="0" err="1">
                <a:solidFill>
                  <a:srgbClr val="000000"/>
                </a:solidFill>
                <a:latin typeface="Marianne" panose="02000000000000000000" pitchFamily="2" charset="0"/>
              </a:rPr>
              <a:t>intercatégorielles</a:t>
            </a:r>
            <a:r>
              <a:rPr lang="fr-FR" sz="1200" i="1" dirty="0">
                <a:solidFill>
                  <a:srgbClr val="000000"/>
                </a:solidFill>
                <a:latin typeface="Marianne" panose="02000000000000000000" pitchFamily="2" charset="0"/>
              </a:rPr>
              <a:t> entre professionnels de la petite enfance et de l’école, organisation des transitions (fiches de liaison, visites de l’école par les jeunes enfants, périodes de familiarisation, entrée progressive à l’école…), intégration de la petite enfance dans les cités éducatives, travaux sur la convergence des pratiques et la fluidité des transitions pour les enfants et les parents, immersions de professionnels et développement de l’interconnaissance, implantation de sections d’accueil du jeune enfant dans des écoles/cités scolaires, liens entre l’école et les assistants maternels, modalités spécifiques de préparation de l’entrée à l’école des enfants en situation de handicap, association des IEN maternelle à l’élaboration de la stratégie petite enfance…</a:t>
            </a:r>
          </a:p>
        </p:txBody>
      </p:sp>
      <p:sp>
        <p:nvSpPr>
          <p:cNvPr id="29" name="Rectangle : coins arrondis 28">
            <a:extLst>
              <a:ext uri="{FF2B5EF4-FFF2-40B4-BE49-F238E27FC236}">
                <a16:creationId xmlns:a16="http://schemas.microsoft.com/office/drawing/2014/main" id="{2AC41F7C-FDE8-4469-8D90-10B7E342CCCC}"/>
              </a:ext>
            </a:extLst>
          </p:cNvPr>
          <p:cNvSpPr/>
          <p:nvPr/>
        </p:nvSpPr>
        <p:spPr>
          <a:xfrm>
            <a:off x="667280" y="1698411"/>
            <a:ext cx="5760000" cy="384000"/>
          </a:xfrm>
          <a:prstGeom prst="roundRect">
            <a:avLst/>
          </a:prstGeom>
          <a:solidFill>
            <a:srgbClr val="16179B"/>
          </a:solidFill>
          <a:effectLst>
            <a:outerShdw blurRad="50800" dist="38100" dir="2700000" algn="tl" rotWithShape="0">
              <a:prstClr val="black">
                <a:alpha val="40000"/>
              </a:prstClr>
            </a:outerShdw>
          </a:effectLst>
        </p:spPr>
        <p:txBody>
          <a:bodyPr lIns="48000" tIns="48000" rIns="48000" bIns="48000" anchor="ctr">
            <a:noAutofit/>
          </a:bodyPr>
          <a:lstStyle/>
          <a:p>
            <a:pPr marL="239994" defTabSz="2347900">
              <a:lnSpc>
                <a:spcPct val="90000"/>
              </a:lnSpc>
              <a:spcBef>
                <a:spcPct val="0"/>
              </a:spcBef>
            </a:pPr>
            <a:r>
              <a:rPr lang="fr-FR" sz="1400" b="1" dirty="0">
                <a:solidFill>
                  <a:schemeClr val="bg1"/>
                </a:solidFill>
                <a:latin typeface="Marianne" panose="02000000000000000000" pitchFamily="2" charset="0"/>
              </a:rPr>
              <a:t>Continuité petite enfance/école maternelle</a:t>
            </a:r>
          </a:p>
        </p:txBody>
      </p:sp>
      <p:sp>
        <p:nvSpPr>
          <p:cNvPr id="41" name="Ellipse 40">
            <a:extLst>
              <a:ext uri="{FF2B5EF4-FFF2-40B4-BE49-F238E27FC236}">
                <a16:creationId xmlns:a16="http://schemas.microsoft.com/office/drawing/2014/main" id="{D731730F-842F-4502-8A61-739F9D6DCF3D}"/>
              </a:ext>
            </a:extLst>
          </p:cNvPr>
          <p:cNvSpPr/>
          <p:nvPr/>
        </p:nvSpPr>
        <p:spPr>
          <a:xfrm>
            <a:off x="483644" y="960321"/>
            <a:ext cx="518473" cy="44044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dirty="0">
              <a:solidFill>
                <a:srgbClr val="FFFFFF"/>
              </a:solidFill>
              <a:latin typeface="Arial"/>
            </a:endParaRPr>
          </a:p>
        </p:txBody>
      </p:sp>
      <p:pic>
        <p:nvPicPr>
          <p:cNvPr id="45" name="Image 44">
            <a:extLst>
              <a:ext uri="{FF2B5EF4-FFF2-40B4-BE49-F238E27FC236}">
                <a16:creationId xmlns:a16="http://schemas.microsoft.com/office/drawing/2014/main" id="{ECAB81C3-C6F3-4F7D-B479-CAE9068115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037" y="840400"/>
            <a:ext cx="668523" cy="669277"/>
          </a:xfrm>
          <a:prstGeom prst="rect">
            <a:avLst/>
          </a:prstGeom>
        </p:spPr>
      </p:pic>
      <p:sp>
        <p:nvSpPr>
          <p:cNvPr id="23" name="ZoneTexte 22">
            <a:extLst>
              <a:ext uri="{FF2B5EF4-FFF2-40B4-BE49-F238E27FC236}">
                <a16:creationId xmlns:a16="http://schemas.microsoft.com/office/drawing/2014/main" id="{2022279E-0C44-41FC-8B40-269184FDD09A}"/>
              </a:ext>
            </a:extLst>
          </p:cNvPr>
          <p:cNvSpPr txBox="1"/>
          <p:nvPr/>
        </p:nvSpPr>
        <p:spPr>
          <a:xfrm>
            <a:off x="809721" y="4305875"/>
            <a:ext cx="10657184" cy="672000"/>
          </a:xfrm>
          <a:prstGeom prst="roundRect">
            <a:avLst/>
          </a:prstGeom>
          <a:solidFill>
            <a:schemeClr val="bg1">
              <a:lumMod val="95000"/>
            </a:schemeClr>
          </a:solidFill>
          <a:ln>
            <a:noFill/>
          </a:ln>
        </p:spPr>
        <p:txBody>
          <a:bodyPr wrap="square" anchor="ctr">
            <a:noAutofit/>
          </a:bodyPr>
          <a:lstStyle>
            <a:defPPr>
              <a:defRPr lang="fr-FR"/>
            </a:defPPr>
            <a:lvl1pPr>
              <a:defRPr sz="700">
                <a:solidFill>
                  <a:schemeClr val="tx2">
                    <a:lumMod val="60000"/>
                    <a:lumOff val="40000"/>
                  </a:schemeClr>
                </a:solidFill>
              </a:defRPr>
            </a:lvl1pPr>
          </a:lstStyle>
          <a:p>
            <a:pPr algn="just" defTabSz="1219170"/>
            <a:endParaRPr lang="fr-FR" sz="1200" dirty="0">
              <a:solidFill>
                <a:srgbClr val="000000"/>
              </a:solidFill>
              <a:latin typeface="Marianne" panose="02000000000000000000" pitchFamily="2" charset="0"/>
            </a:endParaRPr>
          </a:p>
          <a:p>
            <a:pPr algn="just" defTabSz="1219170"/>
            <a:r>
              <a:rPr lang="fr-FR" sz="1200" i="1" dirty="0">
                <a:solidFill>
                  <a:srgbClr val="000000"/>
                </a:solidFill>
                <a:latin typeface="Marianne" panose="02000000000000000000" pitchFamily="2" charset="0"/>
              </a:rPr>
              <a:t>Exemple : projets pour faciliter l’accès des jeunes enfants à l’extérieur et à la nature, accueils de jeunes enfants en plein air, démarches de végétalisation ou piétonisation des abords de crèches, accès aux squares, espaces verts et aires de jeux, urbanisme inclusif pour les jeunes enfants, soutien à la participation des lieux d’accueil à la vie sociale…</a:t>
            </a:r>
          </a:p>
        </p:txBody>
      </p:sp>
      <p:sp>
        <p:nvSpPr>
          <p:cNvPr id="43" name="Ellipse 42">
            <a:extLst>
              <a:ext uri="{FF2B5EF4-FFF2-40B4-BE49-F238E27FC236}">
                <a16:creationId xmlns:a16="http://schemas.microsoft.com/office/drawing/2014/main" id="{F3D2A4CE-25B6-4A92-902C-0ACBEBD60223}"/>
              </a:ext>
            </a:extLst>
          </p:cNvPr>
          <p:cNvSpPr/>
          <p:nvPr/>
        </p:nvSpPr>
        <p:spPr>
          <a:xfrm>
            <a:off x="438520" y="4225719"/>
            <a:ext cx="518473" cy="44044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dirty="0">
              <a:solidFill>
                <a:srgbClr val="FFFFFF"/>
              </a:solidFill>
              <a:latin typeface="Arial"/>
            </a:endParaRPr>
          </a:p>
        </p:txBody>
      </p:sp>
      <p:sp>
        <p:nvSpPr>
          <p:cNvPr id="27" name="ZoneTexte 26">
            <a:extLst>
              <a:ext uri="{FF2B5EF4-FFF2-40B4-BE49-F238E27FC236}">
                <a16:creationId xmlns:a16="http://schemas.microsoft.com/office/drawing/2014/main" id="{284F1B69-DC3F-4050-8130-778E205C4DA9}"/>
              </a:ext>
            </a:extLst>
          </p:cNvPr>
          <p:cNvSpPr txBox="1"/>
          <p:nvPr/>
        </p:nvSpPr>
        <p:spPr>
          <a:xfrm>
            <a:off x="727567" y="5717916"/>
            <a:ext cx="10657184" cy="672000"/>
          </a:xfrm>
          <a:prstGeom prst="roundRect">
            <a:avLst/>
          </a:prstGeom>
          <a:solidFill>
            <a:schemeClr val="bg1">
              <a:lumMod val="95000"/>
            </a:schemeClr>
          </a:solidFill>
          <a:ln>
            <a:noFill/>
          </a:ln>
        </p:spPr>
        <p:txBody>
          <a:bodyPr wrap="square" anchor="ctr">
            <a:noAutofit/>
          </a:bodyPr>
          <a:lstStyle>
            <a:defPPr>
              <a:defRPr lang="fr-FR"/>
            </a:defPPr>
            <a:lvl1pPr>
              <a:defRPr sz="700">
                <a:solidFill>
                  <a:schemeClr val="tx2">
                    <a:lumMod val="60000"/>
                    <a:lumOff val="40000"/>
                  </a:schemeClr>
                </a:solidFill>
              </a:defRPr>
            </a:lvl1pPr>
          </a:lstStyle>
          <a:p>
            <a:pPr defTabSz="1219170"/>
            <a:r>
              <a:rPr lang="fr-FR" sz="1200" i="1" dirty="0">
                <a:solidFill>
                  <a:srgbClr val="000000"/>
                </a:solidFill>
                <a:latin typeface="Marianne" panose="02000000000000000000" pitchFamily="2" charset="0"/>
              </a:rPr>
              <a:t>Exemple : démarches d’évaluation de la QVCT des professionnels sur le territoire, diffusion des bonnes pratiques, appui méthodologique et/ou financier aux démarches de QVCT, partenariats avec des acteurs du territoire (kinésithérapeutes, ergothérapeutes…)</a:t>
            </a:r>
          </a:p>
        </p:txBody>
      </p:sp>
      <p:pic>
        <p:nvPicPr>
          <p:cNvPr id="3" name="Image 2" descr="Une image contenant texte, Police, Graphique, logo&#10;&#10;Description générée automatiquement">
            <a:extLst>
              <a:ext uri="{FF2B5EF4-FFF2-40B4-BE49-F238E27FC236}">
                <a16:creationId xmlns:a16="http://schemas.microsoft.com/office/drawing/2014/main" id="{794A76C3-A03A-8292-5703-B852C0719B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307755" y="179706"/>
            <a:ext cx="3890571" cy="1075613"/>
          </a:xfrm>
          <a:prstGeom prst="rect">
            <a:avLst/>
          </a:prstGeom>
        </p:spPr>
      </p:pic>
      <p:sp>
        <p:nvSpPr>
          <p:cNvPr id="7" name="Rectangle : coins arrondis 6">
            <a:extLst>
              <a:ext uri="{FF2B5EF4-FFF2-40B4-BE49-F238E27FC236}">
                <a16:creationId xmlns:a16="http://schemas.microsoft.com/office/drawing/2014/main" id="{81E3A0FA-D280-FBA7-0CA0-C7C8604B8530}"/>
              </a:ext>
            </a:extLst>
          </p:cNvPr>
          <p:cNvSpPr/>
          <p:nvPr/>
        </p:nvSpPr>
        <p:spPr>
          <a:xfrm>
            <a:off x="727567" y="5329608"/>
            <a:ext cx="5760000" cy="440444"/>
          </a:xfrm>
          <a:prstGeom prst="roundRect">
            <a:avLst/>
          </a:prstGeom>
          <a:solidFill>
            <a:srgbClr val="16179B"/>
          </a:solidFill>
          <a:effectLst>
            <a:outerShdw blurRad="50800" dist="38100" dir="2700000" algn="tl" rotWithShape="0">
              <a:prstClr val="black">
                <a:alpha val="40000"/>
              </a:prstClr>
            </a:outerShdw>
          </a:effectLst>
        </p:spPr>
        <p:txBody>
          <a:bodyPr lIns="48000" tIns="48000" rIns="48000" bIns="48000" anchor="ctr">
            <a:noAutofit/>
          </a:bodyPr>
          <a:lstStyle/>
          <a:p>
            <a:pPr marL="239994" defTabSz="2347900">
              <a:lnSpc>
                <a:spcPct val="90000"/>
              </a:lnSpc>
              <a:spcBef>
                <a:spcPct val="0"/>
              </a:spcBef>
            </a:pPr>
            <a:r>
              <a:rPr lang="fr-FR" sz="1400" b="1" dirty="0">
                <a:solidFill>
                  <a:schemeClr val="bg1"/>
                </a:solidFill>
                <a:latin typeface="Marianne" panose="02000000000000000000" pitchFamily="2" charset="0"/>
              </a:rPr>
              <a:t>Développement de démarches QVCT pour tous les modes d’accueil</a:t>
            </a:r>
          </a:p>
        </p:txBody>
      </p:sp>
      <p:sp>
        <p:nvSpPr>
          <p:cNvPr id="8" name="Rectangle : coins arrondis 7">
            <a:extLst>
              <a:ext uri="{FF2B5EF4-FFF2-40B4-BE49-F238E27FC236}">
                <a16:creationId xmlns:a16="http://schemas.microsoft.com/office/drawing/2014/main" id="{8DABEFE7-AE3D-D340-8522-1BA8AD18AB88}"/>
              </a:ext>
            </a:extLst>
          </p:cNvPr>
          <p:cNvSpPr/>
          <p:nvPr/>
        </p:nvSpPr>
        <p:spPr>
          <a:xfrm>
            <a:off x="742880" y="3773061"/>
            <a:ext cx="5760000" cy="384000"/>
          </a:xfrm>
          <a:prstGeom prst="roundRect">
            <a:avLst/>
          </a:prstGeom>
          <a:solidFill>
            <a:srgbClr val="16179B"/>
          </a:solidFill>
          <a:effectLst>
            <a:outerShdw blurRad="50800" dist="38100" dir="2700000" algn="tl" rotWithShape="0">
              <a:prstClr val="black">
                <a:alpha val="40000"/>
              </a:prstClr>
            </a:outerShdw>
          </a:effectLst>
        </p:spPr>
        <p:txBody>
          <a:bodyPr lIns="48000" tIns="48000" rIns="48000" bIns="48000" anchor="ctr">
            <a:noAutofit/>
          </a:bodyPr>
          <a:lstStyle/>
          <a:p>
            <a:pPr marL="239994" defTabSz="2347900">
              <a:lnSpc>
                <a:spcPct val="90000"/>
              </a:lnSpc>
              <a:spcBef>
                <a:spcPct val="0"/>
              </a:spcBef>
            </a:pPr>
            <a:r>
              <a:rPr lang="fr-FR" sz="1400" b="1" dirty="0">
                <a:solidFill>
                  <a:schemeClr val="bg1"/>
                </a:solidFill>
                <a:latin typeface="Marianne" panose="02000000000000000000" pitchFamily="2" charset="0"/>
              </a:rPr>
              <a:t>Développement de la ville à hauteur d’enfant</a:t>
            </a:r>
          </a:p>
        </p:txBody>
      </p:sp>
    </p:spTree>
    <p:extLst>
      <p:ext uri="{BB962C8B-B14F-4D97-AF65-F5344CB8AC3E}">
        <p14:creationId xmlns:p14="http://schemas.microsoft.com/office/powerpoint/2010/main" val="27107425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79" name="Rectangle 78"/>
          <p:cNvSpPr/>
          <p:nvPr/>
        </p:nvSpPr>
        <p:spPr bwMode="auto">
          <a:xfrm>
            <a:off x="335362" y="6031779"/>
            <a:ext cx="11593087" cy="4519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Marianne" panose="02000000000000000000" pitchFamily="2" charset="0"/>
            </a:endParaRPr>
          </a:p>
        </p:txBody>
      </p:sp>
      <p:sp>
        <p:nvSpPr>
          <p:cNvPr id="3" name="Rectangle 2"/>
          <p:cNvSpPr/>
          <p:nvPr/>
        </p:nvSpPr>
        <p:spPr>
          <a:xfrm>
            <a:off x="11682333" y="2944818"/>
            <a:ext cx="304940" cy="3556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Marianne" panose="02000000000000000000" pitchFamily="2" charset="0"/>
            </a:endParaRPr>
          </a:p>
        </p:txBody>
      </p:sp>
      <p:sp>
        <p:nvSpPr>
          <p:cNvPr id="2" name="Rectangle à coins arrondis 1"/>
          <p:cNvSpPr/>
          <p:nvPr/>
        </p:nvSpPr>
        <p:spPr>
          <a:xfrm>
            <a:off x="71715" y="1490127"/>
            <a:ext cx="11915557" cy="5240523"/>
          </a:xfrm>
          <a:prstGeom prst="roundRect">
            <a:avLst>
              <a:gd name="adj" fmla="val 47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405614902" name="Rectangle 64"/>
          <p:cNvSpPr/>
          <p:nvPr/>
        </p:nvSpPr>
        <p:spPr bwMode="auto">
          <a:xfrm>
            <a:off x="3439030" y="1411975"/>
            <a:ext cx="8216897" cy="4823775"/>
          </a:xfrm>
          <a:prstGeom prst="rect">
            <a:avLst/>
          </a:prstGeom>
          <a:solidFill>
            <a:srgbClr val="FFFFFF"/>
          </a:solidFill>
          <a:ln w="3175">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Font typeface="Arial"/>
              <a:buChar char="•"/>
              <a:defRPr/>
            </a:pPr>
            <a:endParaRPr lang="fr-FR" sz="1333">
              <a:solidFill>
                <a:schemeClr val="tx1"/>
              </a:solidFill>
              <a:latin typeface="Marianne" panose="02000000000000000000" pitchFamily="2" charset="0"/>
            </a:endParaRPr>
          </a:p>
        </p:txBody>
      </p:sp>
      <p:sp>
        <p:nvSpPr>
          <p:cNvPr id="634916884" name="Rectangle 79"/>
          <p:cNvSpPr/>
          <p:nvPr/>
        </p:nvSpPr>
        <p:spPr bwMode="auto">
          <a:xfrm>
            <a:off x="3439029" y="1232184"/>
            <a:ext cx="2826475" cy="383760"/>
          </a:xfrm>
          <a:prstGeom prst="roundRect">
            <a:avLst/>
          </a:prstGeom>
          <a:solidFill>
            <a:srgbClr val="FFFFFF"/>
          </a:solidFill>
          <a:ln w="6350">
            <a:solidFill>
              <a:schemeClr val="accent3">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a:defRPr/>
            </a:pPr>
            <a:r>
              <a:rPr lang="fr-FR" sz="1467" b="1" dirty="0">
                <a:solidFill>
                  <a:srgbClr val="1C408E"/>
                </a:solidFill>
                <a:latin typeface="Marianne" panose="02000000000000000000" pitchFamily="2" charset="0"/>
              </a:rPr>
              <a:t>Description de l’initiative</a:t>
            </a:r>
            <a:endParaRPr sz="2400" dirty="0">
              <a:solidFill>
                <a:srgbClr val="1C408E"/>
              </a:solidFill>
              <a:latin typeface="Marianne" panose="02000000000000000000" pitchFamily="2" charset="0"/>
            </a:endParaRPr>
          </a:p>
        </p:txBody>
      </p:sp>
      <p:sp>
        <p:nvSpPr>
          <p:cNvPr id="1106517336" name="ZoneTexte 84"/>
          <p:cNvSpPr txBox="1"/>
          <p:nvPr/>
        </p:nvSpPr>
        <p:spPr bwMode="auto">
          <a:xfrm>
            <a:off x="3461838" y="1641742"/>
            <a:ext cx="6737484" cy="430631"/>
          </a:xfrm>
          <a:prstGeom prst="rect">
            <a:avLst/>
          </a:prstGeom>
          <a:noFill/>
        </p:spPr>
        <p:txBody>
          <a:bodyPr wrap="square" rtlCol="0">
            <a:spAutoFit/>
          </a:bodyPr>
          <a:lstStyle/>
          <a:p>
            <a:pPr algn="just">
              <a:lnSpc>
                <a:spcPct val="106000"/>
              </a:lnSpc>
            </a:pPr>
            <a:r>
              <a:rPr lang="fr-FR" sz="1067" b="1" dirty="0">
                <a:solidFill>
                  <a:srgbClr val="1C408E"/>
                </a:solidFill>
                <a:latin typeface="Marianne" panose="02000000000000000000" pitchFamily="2" charset="0"/>
                <a:ea typeface="Marianne"/>
                <a:cs typeface="Marianne"/>
              </a:rPr>
              <a:t>Contexte</a:t>
            </a:r>
          </a:p>
          <a:p>
            <a:pPr marL="228594" indent="-228594" algn="just">
              <a:buFont typeface="Arial" panose="020B0604020202020204" pitchFamily="34" charset="0"/>
              <a:buChar char="•"/>
            </a:pPr>
            <a:r>
              <a:rPr lang="fr-FR" sz="1067" dirty="0">
                <a:solidFill>
                  <a:srgbClr val="000000"/>
                </a:solidFill>
                <a:latin typeface="Marianne" panose="02000000000000000000" pitchFamily="2" charset="0"/>
              </a:rPr>
              <a:t>xx</a:t>
            </a:r>
            <a:endParaRPr lang="fr-FR" sz="1067" dirty="0">
              <a:latin typeface="Marianne" panose="02000000000000000000" pitchFamily="2" charset="0"/>
            </a:endParaRPr>
          </a:p>
        </p:txBody>
      </p:sp>
      <p:sp>
        <p:nvSpPr>
          <p:cNvPr id="1837993464" name="Organigramme : Connecteur 117"/>
          <p:cNvSpPr/>
          <p:nvPr/>
        </p:nvSpPr>
        <p:spPr bwMode="auto">
          <a:xfrm>
            <a:off x="495193" y="1291339"/>
            <a:ext cx="96000" cy="96000"/>
          </a:xfrm>
          <a:prstGeom prst="flowChartConnector">
            <a:avLst/>
          </a:prstGeom>
          <a:solidFill>
            <a:schemeClr val="accent4">
              <a:lumMod val="75000"/>
            </a:schemeClr>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sz="2400">
              <a:solidFill>
                <a:srgbClr val="000000"/>
              </a:solidFill>
              <a:latin typeface="Marianne" panose="02000000000000000000" pitchFamily="2" charset="0"/>
            </a:endParaRPr>
          </a:p>
        </p:txBody>
      </p:sp>
      <p:sp>
        <p:nvSpPr>
          <p:cNvPr id="45" name="Rectangle 56"/>
          <p:cNvSpPr/>
          <p:nvPr/>
        </p:nvSpPr>
        <p:spPr bwMode="auto">
          <a:xfrm>
            <a:off x="303523" y="1445989"/>
            <a:ext cx="3008168" cy="4789761"/>
          </a:xfrm>
          <a:prstGeom prst="rect">
            <a:avLst/>
          </a:prstGeom>
          <a:solidFill>
            <a:srgbClr val="1C408E"/>
          </a:solidFill>
          <a:ln w="3175">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defRPr/>
            </a:pPr>
            <a:endParaRPr lang="fr-FR" sz="1067" b="1" dirty="0">
              <a:solidFill>
                <a:schemeClr val="tx1"/>
              </a:solidFill>
              <a:latin typeface="Marianne" panose="02000000000000000000" pitchFamily="2" charset="0"/>
            </a:endParaRPr>
          </a:p>
          <a:p>
            <a:pPr>
              <a:lnSpc>
                <a:spcPct val="150000"/>
              </a:lnSpc>
              <a:defRPr/>
            </a:pPr>
            <a:endParaRPr lang="fr-FR" sz="1067" b="1" dirty="0">
              <a:solidFill>
                <a:schemeClr val="tx1"/>
              </a:solidFill>
              <a:highlight>
                <a:srgbClr val="FFFF00"/>
              </a:highlight>
              <a:latin typeface="Marianne" panose="02000000000000000000" pitchFamily="2" charset="0"/>
            </a:endParaRPr>
          </a:p>
          <a:p>
            <a:pPr algn="ctr">
              <a:defRPr/>
            </a:pPr>
            <a:r>
              <a:rPr lang="fr-FR" sz="1200" b="1" dirty="0">
                <a:solidFill>
                  <a:schemeClr val="bg1"/>
                </a:solidFill>
                <a:latin typeface="Marianne" panose="02000000000000000000" pitchFamily="2" charset="0"/>
              </a:rPr>
              <a:t>[Acteur], </a:t>
            </a:r>
            <a:r>
              <a:rPr lang="fr-FR" sz="1200" dirty="0">
                <a:solidFill>
                  <a:schemeClr val="bg1"/>
                </a:solidFill>
                <a:latin typeface="Marianne" panose="02000000000000000000" pitchFamily="2" charset="0"/>
              </a:rPr>
              <a:t>[Département], [Région]</a:t>
            </a:r>
            <a:endParaRPr lang="fr-FR" sz="1200" b="1" dirty="0">
              <a:solidFill>
                <a:schemeClr val="bg1"/>
              </a:solidFill>
              <a:latin typeface="Marianne" panose="02000000000000000000" pitchFamily="2" charset="0"/>
            </a:endParaRPr>
          </a:p>
          <a:p>
            <a:pPr>
              <a:lnSpc>
                <a:spcPct val="150000"/>
              </a:lnSpc>
              <a:defRPr/>
            </a:pPr>
            <a:endParaRPr lang="fr-FR" sz="1067" b="1" dirty="0">
              <a:solidFill>
                <a:schemeClr val="bg1"/>
              </a:solidFill>
              <a:latin typeface="Marianne" panose="02000000000000000000" pitchFamily="2" charset="0"/>
            </a:endParaRPr>
          </a:p>
          <a:p>
            <a:pPr>
              <a:lnSpc>
                <a:spcPct val="150000"/>
              </a:lnSpc>
              <a:defRPr/>
            </a:pPr>
            <a:r>
              <a:rPr lang="fr-FR" sz="1067" b="1" dirty="0">
                <a:solidFill>
                  <a:schemeClr val="bg1"/>
                </a:solidFill>
                <a:latin typeface="Marianne" panose="02000000000000000000" pitchFamily="2" charset="0"/>
              </a:rPr>
              <a:t>Offre d’accueil du territoire </a:t>
            </a:r>
          </a:p>
          <a:p>
            <a:pPr marL="228594" indent="-228594">
              <a:buFont typeface="Arial" panose="020B0604020202020204" pitchFamily="34" charset="0"/>
              <a:buChar char="•"/>
              <a:defRPr/>
            </a:pPr>
            <a:r>
              <a:rPr lang="fr-FR" sz="1067" dirty="0">
                <a:solidFill>
                  <a:schemeClr val="bg1"/>
                </a:solidFill>
                <a:latin typeface="Marianne" panose="02000000000000000000" pitchFamily="2" charset="0"/>
              </a:rPr>
              <a:t>xx</a:t>
            </a:r>
          </a:p>
          <a:p>
            <a:pPr marL="228594" indent="-228594">
              <a:buFont typeface="Courier New" panose="02070309020205020404" pitchFamily="49" charset="0"/>
              <a:buChar char="o"/>
              <a:defRPr/>
            </a:pPr>
            <a:endParaRPr lang="fr-FR" sz="1067" dirty="0">
              <a:solidFill>
                <a:schemeClr val="bg1"/>
              </a:solidFill>
              <a:latin typeface="Marianne" panose="02000000000000000000" pitchFamily="2" charset="0"/>
            </a:endParaRPr>
          </a:p>
          <a:p>
            <a:pPr lvl="0">
              <a:lnSpc>
                <a:spcPct val="150000"/>
              </a:lnSpc>
              <a:defRPr/>
            </a:pPr>
            <a:r>
              <a:rPr lang="fr-FR" sz="1067" b="1" dirty="0">
                <a:solidFill>
                  <a:schemeClr val="bg1"/>
                </a:solidFill>
                <a:latin typeface="Marianne" panose="02000000000000000000" pitchFamily="2" charset="0"/>
              </a:rPr>
              <a:t>Contact</a:t>
            </a:r>
          </a:p>
          <a:p>
            <a:pPr marL="228594" indent="-228594">
              <a:buFont typeface="Arial" panose="020B0604020202020204" pitchFamily="34" charset="0"/>
              <a:buChar char="•"/>
              <a:defRPr/>
            </a:pPr>
            <a:r>
              <a:rPr lang="fr-FR" sz="1067" dirty="0">
                <a:solidFill>
                  <a:schemeClr val="bg1"/>
                </a:solidFill>
                <a:latin typeface="Marianne" panose="02000000000000000000" pitchFamily="2" charset="0"/>
              </a:rPr>
              <a:t>[Nom du contact], </a:t>
            </a:r>
            <a:r>
              <a:rPr lang="fr-FR" sz="1067" i="1" dirty="0">
                <a:solidFill>
                  <a:schemeClr val="bg1"/>
                </a:solidFill>
                <a:latin typeface="Marianne" panose="02000000000000000000" pitchFamily="2" charset="0"/>
              </a:rPr>
              <a:t>[Poste occupé]</a:t>
            </a:r>
          </a:p>
          <a:p>
            <a:pPr marL="230394">
              <a:defRPr/>
            </a:pPr>
            <a:r>
              <a:rPr lang="fr-FR" sz="1067" u="sng" dirty="0">
                <a:solidFill>
                  <a:schemeClr val="bg1"/>
                </a:solidFill>
                <a:latin typeface="Marianne" panose="02000000000000000000" pitchFamily="2" charset="0"/>
              </a:rPr>
              <a:t>Mail</a:t>
            </a:r>
          </a:p>
          <a:p>
            <a:pPr lvl="0">
              <a:defRPr/>
            </a:pPr>
            <a:r>
              <a:rPr lang="fr-FR" sz="1067" b="1" dirty="0">
                <a:solidFill>
                  <a:schemeClr val="bg1"/>
                </a:solidFill>
                <a:latin typeface="Marianne" panose="02000000000000000000" pitchFamily="2" charset="0"/>
              </a:rPr>
              <a:t>      </a:t>
            </a:r>
            <a:endParaRPr lang="fr-FR" sz="933" b="1" dirty="0">
              <a:solidFill>
                <a:schemeClr val="bg1"/>
              </a:solidFill>
              <a:latin typeface="Marianne"/>
            </a:endParaRPr>
          </a:p>
        </p:txBody>
      </p:sp>
      <p:sp>
        <p:nvSpPr>
          <p:cNvPr id="328790824" name="Rectangle: Top Corners Rounded 103"/>
          <p:cNvSpPr/>
          <p:nvPr/>
        </p:nvSpPr>
        <p:spPr bwMode="auto">
          <a:xfrm rot="16199932" flipH="1" flipV="1">
            <a:off x="1453600" y="-63202"/>
            <a:ext cx="724152" cy="3184051"/>
          </a:xfrm>
          <a:prstGeom prst="roundRect">
            <a:avLst/>
          </a:prstGeom>
          <a:solidFill>
            <a:srgbClr val="1C408E"/>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8">
              <a:defRPr/>
            </a:pPr>
            <a:endParaRPr lang="fr-FR" sz="2400">
              <a:solidFill>
                <a:prstClr val="white"/>
              </a:solidFill>
              <a:latin typeface="Marianne" panose="02000000000000000000" pitchFamily="2" charset="0"/>
            </a:endParaRPr>
          </a:p>
        </p:txBody>
      </p:sp>
      <p:sp>
        <p:nvSpPr>
          <p:cNvPr id="1585640725" name="Freeform 57"/>
          <p:cNvSpPr>
            <a:spLocks noEditPoints="1"/>
          </p:cNvSpPr>
          <p:nvPr/>
        </p:nvSpPr>
        <p:spPr bwMode="auto">
          <a:xfrm>
            <a:off x="298429" y="1230768"/>
            <a:ext cx="612996" cy="560849"/>
          </a:xfrm>
          <a:custGeom>
            <a:avLst/>
            <a:gdLst>
              <a:gd name="T0" fmla="*/ 4431 w 4464"/>
              <a:gd name="T1" fmla="*/ 3853 h 3991"/>
              <a:gd name="T2" fmla="*/ 4358 w 4464"/>
              <a:gd name="T3" fmla="*/ 3967 h 3991"/>
              <a:gd name="T4" fmla="*/ 4240 w 4464"/>
              <a:gd name="T5" fmla="*/ 3846 h 3991"/>
              <a:gd name="T6" fmla="*/ 4204 w 4464"/>
              <a:gd name="T7" fmla="*/ 3725 h 3991"/>
              <a:gd name="T8" fmla="*/ 4169 w 4464"/>
              <a:gd name="T9" fmla="*/ 3598 h 3991"/>
              <a:gd name="T10" fmla="*/ 4315 w 4464"/>
              <a:gd name="T11" fmla="*/ 3411 h 3991"/>
              <a:gd name="T12" fmla="*/ 3386 w 4464"/>
              <a:gd name="T13" fmla="*/ 3382 h 3991"/>
              <a:gd name="T14" fmla="*/ 1072 w 4464"/>
              <a:gd name="T15" fmla="*/ 2092 h 3991"/>
              <a:gd name="T16" fmla="*/ 532 w 4464"/>
              <a:gd name="T17" fmla="*/ 1605 h 3991"/>
              <a:gd name="T18" fmla="*/ 2174 w 4464"/>
              <a:gd name="T19" fmla="*/ 114 h 3991"/>
              <a:gd name="T20" fmla="*/ 2463 w 4464"/>
              <a:gd name="T21" fmla="*/ 317 h 3991"/>
              <a:gd name="T22" fmla="*/ 2725 w 4464"/>
              <a:gd name="T23" fmla="*/ 443 h 3991"/>
              <a:gd name="T24" fmla="*/ 2917 w 4464"/>
              <a:gd name="T25" fmla="*/ 575 h 3991"/>
              <a:gd name="T26" fmla="*/ 3175 w 4464"/>
              <a:gd name="T27" fmla="*/ 620 h 3991"/>
              <a:gd name="T28" fmla="*/ 3416 w 4464"/>
              <a:gd name="T29" fmla="*/ 767 h 3991"/>
              <a:gd name="T30" fmla="*/ 3724 w 4464"/>
              <a:gd name="T31" fmla="*/ 862 h 3991"/>
              <a:gd name="T32" fmla="*/ 3622 w 4464"/>
              <a:gd name="T33" fmla="*/ 1221 h 3991"/>
              <a:gd name="T34" fmla="*/ 3598 w 4464"/>
              <a:gd name="T35" fmla="*/ 1446 h 3991"/>
              <a:gd name="T36" fmla="*/ 3464 w 4464"/>
              <a:gd name="T37" fmla="*/ 1541 h 3991"/>
              <a:gd name="T38" fmla="*/ 3258 w 4464"/>
              <a:gd name="T39" fmla="*/ 1957 h 3991"/>
              <a:gd name="T40" fmla="*/ 3454 w 4464"/>
              <a:gd name="T41" fmla="*/ 2000 h 3991"/>
              <a:gd name="T42" fmla="*/ 3513 w 4464"/>
              <a:gd name="T43" fmla="*/ 2239 h 3991"/>
              <a:gd name="T44" fmla="*/ 3445 w 4464"/>
              <a:gd name="T45" fmla="*/ 2488 h 3991"/>
              <a:gd name="T46" fmla="*/ 3572 w 4464"/>
              <a:gd name="T47" fmla="*/ 2821 h 3991"/>
              <a:gd name="T48" fmla="*/ 3722 w 4464"/>
              <a:gd name="T49" fmla="*/ 3039 h 3991"/>
              <a:gd name="T50" fmla="*/ 3556 w 4464"/>
              <a:gd name="T51" fmla="*/ 3191 h 3991"/>
              <a:gd name="T52" fmla="*/ 3419 w 4464"/>
              <a:gd name="T53" fmla="*/ 3333 h 3991"/>
              <a:gd name="T54" fmla="*/ 3220 w 4464"/>
              <a:gd name="T55" fmla="*/ 3328 h 3991"/>
              <a:gd name="T56" fmla="*/ 3031 w 4464"/>
              <a:gd name="T57" fmla="*/ 3183 h 3991"/>
              <a:gd name="T58" fmla="*/ 2742 w 4464"/>
              <a:gd name="T59" fmla="*/ 3221 h 3991"/>
              <a:gd name="T60" fmla="*/ 2420 w 4464"/>
              <a:gd name="T61" fmla="*/ 3387 h 3991"/>
              <a:gd name="T62" fmla="*/ 2425 w 4464"/>
              <a:gd name="T63" fmla="*/ 3626 h 3991"/>
              <a:gd name="T64" fmla="*/ 2117 w 4464"/>
              <a:gd name="T65" fmla="*/ 3714 h 3991"/>
              <a:gd name="T66" fmla="*/ 1758 w 4464"/>
              <a:gd name="T67" fmla="*/ 3550 h 3991"/>
              <a:gd name="T68" fmla="*/ 1417 w 4464"/>
              <a:gd name="T69" fmla="*/ 3583 h 3991"/>
              <a:gd name="T70" fmla="*/ 1107 w 4464"/>
              <a:gd name="T71" fmla="*/ 3456 h 3991"/>
              <a:gd name="T72" fmla="*/ 892 w 4464"/>
              <a:gd name="T73" fmla="*/ 3304 h 3991"/>
              <a:gd name="T74" fmla="*/ 1112 w 4464"/>
              <a:gd name="T75" fmla="*/ 2388 h 3991"/>
              <a:gd name="T76" fmla="*/ 1157 w 4464"/>
              <a:gd name="T77" fmla="*/ 2353 h 3991"/>
              <a:gd name="T78" fmla="*/ 1128 w 4464"/>
              <a:gd name="T79" fmla="*/ 2149 h 3991"/>
              <a:gd name="T80" fmla="*/ 946 w 4464"/>
              <a:gd name="T81" fmla="*/ 1967 h 3991"/>
              <a:gd name="T82" fmla="*/ 821 w 4464"/>
              <a:gd name="T83" fmla="*/ 1650 h 3991"/>
              <a:gd name="T84" fmla="*/ 750 w 4464"/>
              <a:gd name="T85" fmla="*/ 1628 h 3991"/>
              <a:gd name="T86" fmla="*/ 705 w 4464"/>
              <a:gd name="T87" fmla="*/ 1510 h 3991"/>
              <a:gd name="T88" fmla="*/ 667 w 4464"/>
              <a:gd name="T89" fmla="*/ 1479 h 3991"/>
              <a:gd name="T90" fmla="*/ 560 w 4464"/>
              <a:gd name="T91" fmla="*/ 1489 h 3991"/>
              <a:gd name="T92" fmla="*/ 534 w 4464"/>
              <a:gd name="T93" fmla="*/ 1434 h 3991"/>
              <a:gd name="T94" fmla="*/ 383 w 4464"/>
              <a:gd name="T95" fmla="*/ 1380 h 3991"/>
              <a:gd name="T96" fmla="*/ 198 w 4464"/>
              <a:gd name="T97" fmla="*/ 1373 h 3991"/>
              <a:gd name="T98" fmla="*/ 156 w 4464"/>
              <a:gd name="T99" fmla="*/ 1183 h 3991"/>
              <a:gd name="T100" fmla="*/ 222 w 4464"/>
              <a:gd name="T101" fmla="*/ 1141 h 3991"/>
              <a:gd name="T102" fmla="*/ 151 w 4464"/>
              <a:gd name="T103" fmla="*/ 1030 h 3991"/>
              <a:gd name="T104" fmla="*/ 336 w 4464"/>
              <a:gd name="T105" fmla="*/ 1004 h 3991"/>
              <a:gd name="T106" fmla="*/ 487 w 4464"/>
              <a:gd name="T107" fmla="*/ 956 h 3991"/>
              <a:gd name="T108" fmla="*/ 598 w 4464"/>
              <a:gd name="T109" fmla="*/ 975 h 3991"/>
              <a:gd name="T110" fmla="*/ 807 w 4464"/>
              <a:gd name="T111" fmla="*/ 1027 h 3991"/>
              <a:gd name="T112" fmla="*/ 896 w 4464"/>
              <a:gd name="T113" fmla="*/ 1067 h 3991"/>
              <a:gd name="T114" fmla="*/ 1017 w 4464"/>
              <a:gd name="T115" fmla="*/ 925 h 3991"/>
              <a:gd name="T116" fmla="*/ 963 w 4464"/>
              <a:gd name="T117" fmla="*/ 739 h 3991"/>
              <a:gd name="T118" fmla="*/ 1024 w 4464"/>
              <a:gd name="T119" fmla="*/ 613 h 3991"/>
              <a:gd name="T120" fmla="*/ 1441 w 4464"/>
              <a:gd name="T121" fmla="*/ 762 h 3991"/>
              <a:gd name="T122" fmla="*/ 1902 w 4464"/>
              <a:gd name="T123" fmla="*/ 374 h 3991"/>
              <a:gd name="T124" fmla="*/ 2068 w 4464"/>
              <a:gd name="T125" fmla="*/ 3676 h 3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4" h="3991" extrusionOk="0">
                <a:moveTo>
                  <a:pt x="4405" y="3425"/>
                </a:moveTo>
                <a:lnTo>
                  <a:pt x="4405" y="3425"/>
                </a:lnTo>
                <a:lnTo>
                  <a:pt x="4408" y="3437"/>
                </a:lnTo>
                <a:lnTo>
                  <a:pt x="4408" y="3437"/>
                </a:lnTo>
                <a:lnTo>
                  <a:pt x="4405" y="3439"/>
                </a:lnTo>
                <a:lnTo>
                  <a:pt x="4405" y="3439"/>
                </a:lnTo>
                <a:lnTo>
                  <a:pt x="4405" y="3441"/>
                </a:lnTo>
                <a:lnTo>
                  <a:pt x="4408" y="3444"/>
                </a:lnTo>
                <a:lnTo>
                  <a:pt x="4408" y="3444"/>
                </a:lnTo>
                <a:lnTo>
                  <a:pt x="4410" y="3444"/>
                </a:lnTo>
                <a:lnTo>
                  <a:pt x="4410" y="3444"/>
                </a:lnTo>
                <a:lnTo>
                  <a:pt x="4412" y="3449"/>
                </a:lnTo>
                <a:lnTo>
                  <a:pt x="4412" y="3451"/>
                </a:lnTo>
                <a:lnTo>
                  <a:pt x="4412" y="3453"/>
                </a:lnTo>
                <a:lnTo>
                  <a:pt x="4412" y="3456"/>
                </a:lnTo>
                <a:lnTo>
                  <a:pt x="4415" y="3458"/>
                </a:lnTo>
                <a:lnTo>
                  <a:pt x="4415" y="3460"/>
                </a:lnTo>
                <a:lnTo>
                  <a:pt x="4417" y="3463"/>
                </a:lnTo>
                <a:lnTo>
                  <a:pt x="4419" y="3467"/>
                </a:lnTo>
                <a:lnTo>
                  <a:pt x="4422" y="3467"/>
                </a:lnTo>
                <a:lnTo>
                  <a:pt x="4431" y="3472"/>
                </a:lnTo>
                <a:lnTo>
                  <a:pt x="4429" y="3465"/>
                </a:lnTo>
                <a:lnTo>
                  <a:pt x="4427" y="3463"/>
                </a:lnTo>
                <a:lnTo>
                  <a:pt x="4422" y="3451"/>
                </a:lnTo>
                <a:lnTo>
                  <a:pt x="4431" y="3465"/>
                </a:lnTo>
                <a:lnTo>
                  <a:pt x="4436" y="3472"/>
                </a:lnTo>
                <a:lnTo>
                  <a:pt x="4438" y="3479"/>
                </a:lnTo>
                <a:lnTo>
                  <a:pt x="4441" y="3503"/>
                </a:lnTo>
                <a:lnTo>
                  <a:pt x="4443" y="3517"/>
                </a:lnTo>
                <a:lnTo>
                  <a:pt x="4448" y="3524"/>
                </a:lnTo>
                <a:lnTo>
                  <a:pt x="4446" y="3531"/>
                </a:lnTo>
                <a:lnTo>
                  <a:pt x="4446" y="3536"/>
                </a:lnTo>
                <a:lnTo>
                  <a:pt x="4446" y="3543"/>
                </a:lnTo>
                <a:lnTo>
                  <a:pt x="4446" y="3553"/>
                </a:lnTo>
                <a:lnTo>
                  <a:pt x="4448" y="3560"/>
                </a:lnTo>
                <a:lnTo>
                  <a:pt x="4457" y="3576"/>
                </a:lnTo>
                <a:lnTo>
                  <a:pt x="4457" y="3583"/>
                </a:lnTo>
                <a:lnTo>
                  <a:pt x="4462" y="3638"/>
                </a:lnTo>
                <a:lnTo>
                  <a:pt x="4464" y="3647"/>
                </a:lnTo>
                <a:lnTo>
                  <a:pt x="4464" y="3650"/>
                </a:lnTo>
                <a:lnTo>
                  <a:pt x="4464" y="3659"/>
                </a:lnTo>
                <a:lnTo>
                  <a:pt x="4464" y="3662"/>
                </a:lnTo>
                <a:lnTo>
                  <a:pt x="4462" y="3666"/>
                </a:lnTo>
                <a:lnTo>
                  <a:pt x="4455" y="3676"/>
                </a:lnTo>
                <a:lnTo>
                  <a:pt x="4453" y="3681"/>
                </a:lnTo>
                <a:lnTo>
                  <a:pt x="4450" y="3692"/>
                </a:lnTo>
                <a:lnTo>
                  <a:pt x="4431" y="3725"/>
                </a:lnTo>
                <a:lnTo>
                  <a:pt x="4427" y="3730"/>
                </a:lnTo>
                <a:lnTo>
                  <a:pt x="4427" y="3735"/>
                </a:lnTo>
                <a:lnTo>
                  <a:pt x="4427" y="3749"/>
                </a:lnTo>
                <a:lnTo>
                  <a:pt x="4427" y="3780"/>
                </a:lnTo>
                <a:lnTo>
                  <a:pt x="4434" y="3808"/>
                </a:lnTo>
                <a:lnTo>
                  <a:pt x="4436" y="3839"/>
                </a:lnTo>
                <a:lnTo>
                  <a:pt x="4436" y="3841"/>
                </a:lnTo>
                <a:lnTo>
                  <a:pt x="4434" y="3844"/>
                </a:lnTo>
                <a:lnTo>
                  <a:pt x="4431" y="3846"/>
                </a:lnTo>
                <a:lnTo>
                  <a:pt x="4429" y="3851"/>
                </a:lnTo>
                <a:lnTo>
                  <a:pt x="4427" y="3856"/>
                </a:lnTo>
                <a:lnTo>
                  <a:pt x="4431" y="3853"/>
                </a:lnTo>
                <a:lnTo>
                  <a:pt x="4431" y="3863"/>
                </a:lnTo>
                <a:lnTo>
                  <a:pt x="4431" y="3867"/>
                </a:lnTo>
                <a:lnTo>
                  <a:pt x="4427" y="3870"/>
                </a:lnTo>
                <a:lnTo>
                  <a:pt x="4424" y="3870"/>
                </a:lnTo>
                <a:lnTo>
                  <a:pt x="4422" y="3870"/>
                </a:lnTo>
                <a:lnTo>
                  <a:pt x="4422" y="3872"/>
                </a:lnTo>
                <a:lnTo>
                  <a:pt x="4424" y="3879"/>
                </a:lnTo>
                <a:lnTo>
                  <a:pt x="4419" y="3877"/>
                </a:lnTo>
                <a:lnTo>
                  <a:pt x="4415" y="3877"/>
                </a:lnTo>
                <a:lnTo>
                  <a:pt x="4410" y="3877"/>
                </a:lnTo>
                <a:lnTo>
                  <a:pt x="4405" y="3877"/>
                </a:lnTo>
                <a:lnTo>
                  <a:pt x="4408" y="3882"/>
                </a:lnTo>
                <a:lnTo>
                  <a:pt x="4405" y="3886"/>
                </a:lnTo>
                <a:lnTo>
                  <a:pt x="4403" y="3889"/>
                </a:lnTo>
                <a:lnTo>
                  <a:pt x="4408" y="3891"/>
                </a:lnTo>
                <a:lnTo>
                  <a:pt x="4417" y="3886"/>
                </a:lnTo>
                <a:lnTo>
                  <a:pt x="4424" y="3884"/>
                </a:lnTo>
                <a:lnTo>
                  <a:pt x="4427" y="3889"/>
                </a:lnTo>
                <a:lnTo>
                  <a:pt x="4427" y="3894"/>
                </a:lnTo>
                <a:lnTo>
                  <a:pt x="4424" y="3901"/>
                </a:lnTo>
                <a:lnTo>
                  <a:pt x="4419" y="3903"/>
                </a:lnTo>
                <a:lnTo>
                  <a:pt x="4415" y="3905"/>
                </a:lnTo>
                <a:lnTo>
                  <a:pt x="4412" y="3908"/>
                </a:lnTo>
                <a:lnTo>
                  <a:pt x="4410" y="3912"/>
                </a:lnTo>
                <a:lnTo>
                  <a:pt x="4408" y="3917"/>
                </a:lnTo>
                <a:lnTo>
                  <a:pt x="4401" y="3920"/>
                </a:lnTo>
                <a:lnTo>
                  <a:pt x="4403" y="3922"/>
                </a:lnTo>
                <a:lnTo>
                  <a:pt x="4403" y="3924"/>
                </a:lnTo>
                <a:lnTo>
                  <a:pt x="4403" y="3927"/>
                </a:lnTo>
                <a:lnTo>
                  <a:pt x="4403" y="3931"/>
                </a:lnTo>
                <a:lnTo>
                  <a:pt x="4408" y="3931"/>
                </a:lnTo>
                <a:lnTo>
                  <a:pt x="4408" y="3936"/>
                </a:lnTo>
                <a:lnTo>
                  <a:pt x="4408" y="3938"/>
                </a:lnTo>
                <a:lnTo>
                  <a:pt x="4403" y="3943"/>
                </a:lnTo>
                <a:lnTo>
                  <a:pt x="4405" y="3946"/>
                </a:lnTo>
                <a:lnTo>
                  <a:pt x="4401" y="3948"/>
                </a:lnTo>
                <a:lnTo>
                  <a:pt x="4393" y="3955"/>
                </a:lnTo>
                <a:lnTo>
                  <a:pt x="4389" y="3955"/>
                </a:lnTo>
                <a:lnTo>
                  <a:pt x="4389" y="3960"/>
                </a:lnTo>
                <a:lnTo>
                  <a:pt x="4391" y="3962"/>
                </a:lnTo>
                <a:lnTo>
                  <a:pt x="4393" y="3965"/>
                </a:lnTo>
                <a:lnTo>
                  <a:pt x="4393" y="3967"/>
                </a:lnTo>
                <a:lnTo>
                  <a:pt x="4389" y="3972"/>
                </a:lnTo>
                <a:lnTo>
                  <a:pt x="4391" y="3974"/>
                </a:lnTo>
                <a:lnTo>
                  <a:pt x="4393" y="3972"/>
                </a:lnTo>
                <a:lnTo>
                  <a:pt x="4398" y="3967"/>
                </a:lnTo>
                <a:lnTo>
                  <a:pt x="4401" y="3962"/>
                </a:lnTo>
                <a:lnTo>
                  <a:pt x="4401" y="3969"/>
                </a:lnTo>
                <a:lnTo>
                  <a:pt x="4401" y="3976"/>
                </a:lnTo>
                <a:lnTo>
                  <a:pt x="4398" y="3983"/>
                </a:lnTo>
                <a:lnTo>
                  <a:pt x="4396" y="3988"/>
                </a:lnTo>
                <a:lnTo>
                  <a:pt x="4391" y="3991"/>
                </a:lnTo>
                <a:lnTo>
                  <a:pt x="4386" y="3991"/>
                </a:lnTo>
                <a:lnTo>
                  <a:pt x="4377" y="3983"/>
                </a:lnTo>
                <a:lnTo>
                  <a:pt x="4372" y="3981"/>
                </a:lnTo>
                <a:lnTo>
                  <a:pt x="4363" y="3981"/>
                </a:lnTo>
                <a:lnTo>
                  <a:pt x="4353" y="3979"/>
                </a:lnTo>
                <a:lnTo>
                  <a:pt x="4356" y="3967"/>
                </a:lnTo>
                <a:lnTo>
                  <a:pt x="4358" y="3967"/>
                </a:lnTo>
                <a:lnTo>
                  <a:pt x="4360" y="3965"/>
                </a:lnTo>
                <a:lnTo>
                  <a:pt x="4356" y="3962"/>
                </a:lnTo>
                <a:lnTo>
                  <a:pt x="4346" y="3960"/>
                </a:lnTo>
                <a:lnTo>
                  <a:pt x="4341" y="3955"/>
                </a:lnTo>
                <a:lnTo>
                  <a:pt x="4346" y="3948"/>
                </a:lnTo>
                <a:lnTo>
                  <a:pt x="4346" y="3946"/>
                </a:lnTo>
                <a:lnTo>
                  <a:pt x="4341" y="3948"/>
                </a:lnTo>
                <a:lnTo>
                  <a:pt x="4334" y="3957"/>
                </a:lnTo>
                <a:lnTo>
                  <a:pt x="4332" y="3953"/>
                </a:lnTo>
                <a:lnTo>
                  <a:pt x="4332" y="3953"/>
                </a:lnTo>
                <a:lnTo>
                  <a:pt x="4332" y="3953"/>
                </a:lnTo>
                <a:lnTo>
                  <a:pt x="4332" y="3953"/>
                </a:lnTo>
                <a:lnTo>
                  <a:pt x="4332" y="3950"/>
                </a:lnTo>
                <a:lnTo>
                  <a:pt x="4330" y="3953"/>
                </a:lnTo>
                <a:lnTo>
                  <a:pt x="4327" y="3953"/>
                </a:lnTo>
                <a:lnTo>
                  <a:pt x="4327" y="3955"/>
                </a:lnTo>
                <a:lnTo>
                  <a:pt x="4325" y="3950"/>
                </a:lnTo>
                <a:lnTo>
                  <a:pt x="4320" y="3948"/>
                </a:lnTo>
                <a:lnTo>
                  <a:pt x="4313" y="3948"/>
                </a:lnTo>
                <a:lnTo>
                  <a:pt x="4304" y="3948"/>
                </a:lnTo>
                <a:lnTo>
                  <a:pt x="4299" y="3948"/>
                </a:lnTo>
                <a:lnTo>
                  <a:pt x="4296" y="3946"/>
                </a:lnTo>
                <a:lnTo>
                  <a:pt x="4294" y="3943"/>
                </a:lnTo>
                <a:lnTo>
                  <a:pt x="4289" y="3941"/>
                </a:lnTo>
                <a:lnTo>
                  <a:pt x="4282" y="3941"/>
                </a:lnTo>
                <a:lnTo>
                  <a:pt x="4282" y="3938"/>
                </a:lnTo>
                <a:lnTo>
                  <a:pt x="4280" y="3938"/>
                </a:lnTo>
                <a:lnTo>
                  <a:pt x="4278" y="3936"/>
                </a:lnTo>
                <a:lnTo>
                  <a:pt x="4275" y="3936"/>
                </a:lnTo>
                <a:lnTo>
                  <a:pt x="4273" y="3936"/>
                </a:lnTo>
                <a:lnTo>
                  <a:pt x="4270" y="3936"/>
                </a:lnTo>
                <a:lnTo>
                  <a:pt x="4268" y="3934"/>
                </a:lnTo>
                <a:lnTo>
                  <a:pt x="4270" y="3931"/>
                </a:lnTo>
                <a:lnTo>
                  <a:pt x="4270" y="3929"/>
                </a:lnTo>
                <a:lnTo>
                  <a:pt x="4266" y="3927"/>
                </a:lnTo>
                <a:lnTo>
                  <a:pt x="4263" y="3927"/>
                </a:lnTo>
                <a:lnTo>
                  <a:pt x="4261" y="3927"/>
                </a:lnTo>
                <a:lnTo>
                  <a:pt x="4256" y="3927"/>
                </a:lnTo>
                <a:lnTo>
                  <a:pt x="4254" y="3924"/>
                </a:lnTo>
                <a:lnTo>
                  <a:pt x="4251" y="3922"/>
                </a:lnTo>
                <a:lnTo>
                  <a:pt x="4251" y="3915"/>
                </a:lnTo>
                <a:lnTo>
                  <a:pt x="4249" y="3912"/>
                </a:lnTo>
                <a:lnTo>
                  <a:pt x="4244" y="3910"/>
                </a:lnTo>
                <a:lnTo>
                  <a:pt x="4247" y="3905"/>
                </a:lnTo>
                <a:lnTo>
                  <a:pt x="4249" y="3896"/>
                </a:lnTo>
                <a:lnTo>
                  <a:pt x="4251" y="3889"/>
                </a:lnTo>
                <a:lnTo>
                  <a:pt x="4256" y="3891"/>
                </a:lnTo>
                <a:lnTo>
                  <a:pt x="4273" y="3882"/>
                </a:lnTo>
                <a:lnTo>
                  <a:pt x="4275" y="3879"/>
                </a:lnTo>
                <a:lnTo>
                  <a:pt x="4275" y="3872"/>
                </a:lnTo>
                <a:lnTo>
                  <a:pt x="4280" y="3870"/>
                </a:lnTo>
                <a:lnTo>
                  <a:pt x="4282" y="3867"/>
                </a:lnTo>
                <a:lnTo>
                  <a:pt x="4287" y="3863"/>
                </a:lnTo>
                <a:lnTo>
                  <a:pt x="4280" y="3863"/>
                </a:lnTo>
                <a:lnTo>
                  <a:pt x="4259" y="3858"/>
                </a:lnTo>
                <a:lnTo>
                  <a:pt x="4251" y="3860"/>
                </a:lnTo>
                <a:lnTo>
                  <a:pt x="4244" y="3858"/>
                </a:lnTo>
                <a:lnTo>
                  <a:pt x="4240" y="3856"/>
                </a:lnTo>
                <a:lnTo>
                  <a:pt x="4240" y="3846"/>
                </a:lnTo>
                <a:lnTo>
                  <a:pt x="4233" y="3846"/>
                </a:lnTo>
                <a:lnTo>
                  <a:pt x="4221" y="3853"/>
                </a:lnTo>
                <a:lnTo>
                  <a:pt x="4214" y="3856"/>
                </a:lnTo>
                <a:lnTo>
                  <a:pt x="4214" y="3853"/>
                </a:lnTo>
                <a:lnTo>
                  <a:pt x="4216" y="3849"/>
                </a:lnTo>
                <a:lnTo>
                  <a:pt x="4211" y="3851"/>
                </a:lnTo>
                <a:lnTo>
                  <a:pt x="4207" y="3849"/>
                </a:lnTo>
                <a:lnTo>
                  <a:pt x="4204" y="3849"/>
                </a:lnTo>
                <a:lnTo>
                  <a:pt x="4199" y="3849"/>
                </a:lnTo>
                <a:lnTo>
                  <a:pt x="4204" y="3846"/>
                </a:lnTo>
                <a:lnTo>
                  <a:pt x="4211" y="3844"/>
                </a:lnTo>
                <a:lnTo>
                  <a:pt x="4216" y="3839"/>
                </a:lnTo>
                <a:lnTo>
                  <a:pt x="4218" y="3837"/>
                </a:lnTo>
                <a:lnTo>
                  <a:pt x="4218" y="3832"/>
                </a:lnTo>
                <a:lnTo>
                  <a:pt x="4218" y="3827"/>
                </a:lnTo>
                <a:lnTo>
                  <a:pt x="4214" y="3825"/>
                </a:lnTo>
                <a:lnTo>
                  <a:pt x="4214" y="3823"/>
                </a:lnTo>
                <a:lnTo>
                  <a:pt x="4221" y="3823"/>
                </a:lnTo>
                <a:lnTo>
                  <a:pt x="4228" y="3818"/>
                </a:lnTo>
                <a:lnTo>
                  <a:pt x="4237" y="3811"/>
                </a:lnTo>
                <a:lnTo>
                  <a:pt x="4235" y="3808"/>
                </a:lnTo>
                <a:lnTo>
                  <a:pt x="4233" y="3806"/>
                </a:lnTo>
                <a:lnTo>
                  <a:pt x="4230" y="3804"/>
                </a:lnTo>
                <a:lnTo>
                  <a:pt x="4225" y="3804"/>
                </a:lnTo>
                <a:lnTo>
                  <a:pt x="4235" y="3799"/>
                </a:lnTo>
                <a:lnTo>
                  <a:pt x="4237" y="3796"/>
                </a:lnTo>
                <a:lnTo>
                  <a:pt x="4237" y="3796"/>
                </a:lnTo>
                <a:lnTo>
                  <a:pt x="4235" y="3794"/>
                </a:lnTo>
                <a:lnTo>
                  <a:pt x="4235" y="3792"/>
                </a:lnTo>
                <a:lnTo>
                  <a:pt x="4233" y="3792"/>
                </a:lnTo>
                <a:lnTo>
                  <a:pt x="4237" y="3785"/>
                </a:lnTo>
                <a:lnTo>
                  <a:pt x="4237" y="3785"/>
                </a:lnTo>
                <a:lnTo>
                  <a:pt x="4237" y="3782"/>
                </a:lnTo>
                <a:lnTo>
                  <a:pt x="4240" y="3778"/>
                </a:lnTo>
                <a:lnTo>
                  <a:pt x="4240" y="3775"/>
                </a:lnTo>
                <a:lnTo>
                  <a:pt x="4240" y="3775"/>
                </a:lnTo>
                <a:lnTo>
                  <a:pt x="4235" y="3773"/>
                </a:lnTo>
                <a:lnTo>
                  <a:pt x="4233" y="3770"/>
                </a:lnTo>
                <a:lnTo>
                  <a:pt x="4233" y="3768"/>
                </a:lnTo>
                <a:lnTo>
                  <a:pt x="4230" y="3766"/>
                </a:lnTo>
                <a:lnTo>
                  <a:pt x="4225" y="3766"/>
                </a:lnTo>
                <a:lnTo>
                  <a:pt x="4221" y="3768"/>
                </a:lnTo>
                <a:lnTo>
                  <a:pt x="4209" y="3775"/>
                </a:lnTo>
                <a:lnTo>
                  <a:pt x="4204" y="3778"/>
                </a:lnTo>
                <a:lnTo>
                  <a:pt x="4190" y="3780"/>
                </a:lnTo>
                <a:lnTo>
                  <a:pt x="4185" y="3780"/>
                </a:lnTo>
                <a:lnTo>
                  <a:pt x="4181" y="3785"/>
                </a:lnTo>
                <a:lnTo>
                  <a:pt x="4178" y="3780"/>
                </a:lnTo>
                <a:lnTo>
                  <a:pt x="4181" y="3773"/>
                </a:lnTo>
                <a:lnTo>
                  <a:pt x="4178" y="3766"/>
                </a:lnTo>
                <a:lnTo>
                  <a:pt x="4169" y="3756"/>
                </a:lnTo>
                <a:lnTo>
                  <a:pt x="4183" y="3754"/>
                </a:lnTo>
                <a:lnTo>
                  <a:pt x="4190" y="3752"/>
                </a:lnTo>
                <a:lnTo>
                  <a:pt x="4192" y="3742"/>
                </a:lnTo>
                <a:lnTo>
                  <a:pt x="4190" y="3740"/>
                </a:lnTo>
                <a:lnTo>
                  <a:pt x="4192" y="3735"/>
                </a:lnTo>
                <a:lnTo>
                  <a:pt x="4197" y="3730"/>
                </a:lnTo>
                <a:lnTo>
                  <a:pt x="4204" y="3728"/>
                </a:lnTo>
                <a:lnTo>
                  <a:pt x="4204" y="3725"/>
                </a:lnTo>
                <a:lnTo>
                  <a:pt x="4214" y="3721"/>
                </a:lnTo>
                <a:lnTo>
                  <a:pt x="4214" y="3721"/>
                </a:lnTo>
                <a:lnTo>
                  <a:pt x="4214" y="3714"/>
                </a:lnTo>
                <a:lnTo>
                  <a:pt x="4214" y="3711"/>
                </a:lnTo>
                <a:lnTo>
                  <a:pt x="4207" y="3709"/>
                </a:lnTo>
                <a:lnTo>
                  <a:pt x="4199" y="3697"/>
                </a:lnTo>
                <a:lnTo>
                  <a:pt x="4197" y="3695"/>
                </a:lnTo>
                <a:lnTo>
                  <a:pt x="4195" y="3692"/>
                </a:lnTo>
                <a:lnTo>
                  <a:pt x="4185" y="3697"/>
                </a:lnTo>
                <a:lnTo>
                  <a:pt x="4185" y="3695"/>
                </a:lnTo>
                <a:lnTo>
                  <a:pt x="4181" y="3690"/>
                </a:lnTo>
                <a:lnTo>
                  <a:pt x="4176" y="3688"/>
                </a:lnTo>
                <a:lnTo>
                  <a:pt x="4169" y="3685"/>
                </a:lnTo>
                <a:lnTo>
                  <a:pt x="4162" y="3688"/>
                </a:lnTo>
                <a:lnTo>
                  <a:pt x="4162" y="3683"/>
                </a:lnTo>
                <a:lnTo>
                  <a:pt x="4164" y="3681"/>
                </a:lnTo>
                <a:lnTo>
                  <a:pt x="4162" y="3681"/>
                </a:lnTo>
                <a:lnTo>
                  <a:pt x="4159" y="3678"/>
                </a:lnTo>
                <a:lnTo>
                  <a:pt x="4154" y="3678"/>
                </a:lnTo>
                <a:lnTo>
                  <a:pt x="4152" y="3678"/>
                </a:lnTo>
                <a:lnTo>
                  <a:pt x="4154" y="3678"/>
                </a:lnTo>
                <a:lnTo>
                  <a:pt x="4157" y="3676"/>
                </a:lnTo>
                <a:lnTo>
                  <a:pt x="4162" y="3673"/>
                </a:lnTo>
                <a:lnTo>
                  <a:pt x="4162" y="3669"/>
                </a:lnTo>
                <a:lnTo>
                  <a:pt x="4154" y="3671"/>
                </a:lnTo>
                <a:lnTo>
                  <a:pt x="4152" y="3666"/>
                </a:lnTo>
                <a:lnTo>
                  <a:pt x="4157" y="3666"/>
                </a:lnTo>
                <a:lnTo>
                  <a:pt x="4157" y="3662"/>
                </a:lnTo>
                <a:lnTo>
                  <a:pt x="4157" y="3657"/>
                </a:lnTo>
                <a:lnTo>
                  <a:pt x="4152" y="3657"/>
                </a:lnTo>
                <a:lnTo>
                  <a:pt x="4154" y="3650"/>
                </a:lnTo>
                <a:lnTo>
                  <a:pt x="4152" y="3650"/>
                </a:lnTo>
                <a:lnTo>
                  <a:pt x="4147" y="3647"/>
                </a:lnTo>
                <a:lnTo>
                  <a:pt x="4145" y="3647"/>
                </a:lnTo>
                <a:lnTo>
                  <a:pt x="4145" y="3643"/>
                </a:lnTo>
                <a:lnTo>
                  <a:pt x="4147" y="3640"/>
                </a:lnTo>
                <a:lnTo>
                  <a:pt x="4157" y="3640"/>
                </a:lnTo>
                <a:lnTo>
                  <a:pt x="4159" y="3638"/>
                </a:lnTo>
                <a:lnTo>
                  <a:pt x="4162" y="3638"/>
                </a:lnTo>
                <a:lnTo>
                  <a:pt x="4164" y="3636"/>
                </a:lnTo>
                <a:lnTo>
                  <a:pt x="4176" y="3631"/>
                </a:lnTo>
                <a:lnTo>
                  <a:pt x="4181" y="3628"/>
                </a:lnTo>
                <a:lnTo>
                  <a:pt x="4183" y="3626"/>
                </a:lnTo>
                <a:lnTo>
                  <a:pt x="4185" y="3624"/>
                </a:lnTo>
                <a:lnTo>
                  <a:pt x="4188" y="3626"/>
                </a:lnTo>
                <a:lnTo>
                  <a:pt x="4188" y="3624"/>
                </a:lnTo>
                <a:lnTo>
                  <a:pt x="4188" y="3621"/>
                </a:lnTo>
                <a:lnTo>
                  <a:pt x="4183" y="3619"/>
                </a:lnTo>
                <a:lnTo>
                  <a:pt x="4181" y="3617"/>
                </a:lnTo>
                <a:lnTo>
                  <a:pt x="4169" y="3612"/>
                </a:lnTo>
                <a:lnTo>
                  <a:pt x="4169" y="3612"/>
                </a:lnTo>
                <a:lnTo>
                  <a:pt x="4166" y="3610"/>
                </a:lnTo>
                <a:lnTo>
                  <a:pt x="4166" y="3607"/>
                </a:lnTo>
                <a:lnTo>
                  <a:pt x="4162" y="3612"/>
                </a:lnTo>
                <a:lnTo>
                  <a:pt x="4159" y="3612"/>
                </a:lnTo>
                <a:lnTo>
                  <a:pt x="4159" y="3610"/>
                </a:lnTo>
                <a:lnTo>
                  <a:pt x="4157" y="3607"/>
                </a:lnTo>
                <a:lnTo>
                  <a:pt x="4159" y="3605"/>
                </a:lnTo>
                <a:lnTo>
                  <a:pt x="4169" y="3598"/>
                </a:lnTo>
                <a:lnTo>
                  <a:pt x="4162" y="3593"/>
                </a:lnTo>
                <a:lnTo>
                  <a:pt x="4154" y="3595"/>
                </a:lnTo>
                <a:lnTo>
                  <a:pt x="4143" y="3600"/>
                </a:lnTo>
                <a:lnTo>
                  <a:pt x="4145" y="3598"/>
                </a:lnTo>
                <a:lnTo>
                  <a:pt x="4143" y="3595"/>
                </a:lnTo>
                <a:lnTo>
                  <a:pt x="4140" y="3591"/>
                </a:lnTo>
                <a:lnTo>
                  <a:pt x="4140" y="3586"/>
                </a:lnTo>
                <a:lnTo>
                  <a:pt x="4140" y="3581"/>
                </a:lnTo>
                <a:lnTo>
                  <a:pt x="4143" y="3583"/>
                </a:lnTo>
                <a:lnTo>
                  <a:pt x="4145" y="3581"/>
                </a:lnTo>
                <a:lnTo>
                  <a:pt x="4150" y="3581"/>
                </a:lnTo>
                <a:lnTo>
                  <a:pt x="4150" y="3576"/>
                </a:lnTo>
                <a:lnTo>
                  <a:pt x="4154" y="3579"/>
                </a:lnTo>
                <a:lnTo>
                  <a:pt x="4154" y="3576"/>
                </a:lnTo>
                <a:lnTo>
                  <a:pt x="4154" y="3574"/>
                </a:lnTo>
                <a:lnTo>
                  <a:pt x="4157" y="3569"/>
                </a:lnTo>
                <a:lnTo>
                  <a:pt x="4157" y="3567"/>
                </a:lnTo>
                <a:lnTo>
                  <a:pt x="4159" y="3567"/>
                </a:lnTo>
                <a:lnTo>
                  <a:pt x="4159" y="3565"/>
                </a:lnTo>
                <a:lnTo>
                  <a:pt x="4169" y="3562"/>
                </a:lnTo>
                <a:lnTo>
                  <a:pt x="4171" y="3560"/>
                </a:lnTo>
                <a:lnTo>
                  <a:pt x="4171" y="3555"/>
                </a:lnTo>
                <a:lnTo>
                  <a:pt x="4171" y="3550"/>
                </a:lnTo>
                <a:lnTo>
                  <a:pt x="4173" y="3543"/>
                </a:lnTo>
                <a:lnTo>
                  <a:pt x="4176" y="3541"/>
                </a:lnTo>
                <a:lnTo>
                  <a:pt x="4173" y="3538"/>
                </a:lnTo>
                <a:lnTo>
                  <a:pt x="4169" y="3538"/>
                </a:lnTo>
                <a:lnTo>
                  <a:pt x="4169" y="3538"/>
                </a:lnTo>
                <a:lnTo>
                  <a:pt x="4169" y="3536"/>
                </a:lnTo>
                <a:lnTo>
                  <a:pt x="4171" y="3524"/>
                </a:lnTo>
                <a:lnTo>
                  <a:pt x="4173" y="3520"/>
                </a:lnTo>
                <a:lnTo>
                  <a:pt x="4178" y="3517"/>
                </a:lnTo>
                <a:lnTo>
                  <a:pt x="4185" y="3515"/>
                </a:lnTo>
                <a:lnTo>
                  <a:pt x="4183" y="3510"/>
                </a:lnTo>
                <a:lnTo>
                  <a:pt x="4183" y="3501"/>
                </a:lnTo>
                <a:lnTo>
                  <a:pt x="4181" y="3496"/>
                </a:lnTo>
                <a:lnTo>
                  <a:pt x="4181" y="3494"/>
                </a:lnTo>
                <a:lnTo>
                  <a:pt x="4183" y="3496"/>
                </a:lnTo>
                <a:lnTo>
                  <a:pt x="4185" y="3494"/>
                </a:lnTo>
                <a:lnTo>
                  <a:pt x="4185" y="3496"/>
                </a:lnTo>
                <a:lnTo>
                  <a:pt x="4185" y="3498"/>
                </a:lnTo>
                <a:lnTo>
                  <a:pt x="4190" y="3496"/>
                </a:lnTo>
                <a:lnTo>
                  <a:pt x="4195" y="3496"/>
                </a:lnTo>
                <a:lnTo>
                  <a:pt x="4197" y="3498"/>
                </a:lnTo>
                <a:lnTo>
                  <a:pt x="4202" y="3501"/>
                </a:lnTo>
                <a:lnTo>
                  <a:pt x="4207" y="3498"/>
                </a:lnTo>
                <a:lnTo>
                  <a:pt x="4209" y="3494"/>
                </a:lnTo>
                <a:lnTo>
                  <a:pt x="4211" y="3489"/>
                </a:lnTo>
                <a:lnTo>
                  <a:pt x="4211" y="3482"/>
                </a:lnTo>
                <a:lnTo>
                  <a:pt x="4209" y="3479"/>
                </a:lnTo>
                <a:lnTo>
                  <a:pt x="4221" y="3477"/>
                </a:lnTo>
                <a:lnTo>
                  <a:pt x="4240" y="3465"/>
                </a:lnTo>
                <a:lnTo>
                  <a:pt x="4273" y="3453"/>
                </a:lnTo>
                <a:lnTo>
                  <a:pt x="4282" y="3446"/>
                </a:lnTo>
                <a:lnTo>
                  <a:pt x="4282" y="3439"/>
                </a:lnTo>
                <a:lnTo>
                  <a:pt x="4296" y="3418"/>
                </a:lnTo>
                <a:lnTo>
                  <a:pt x="4301" y="3415"/>
                </a:lnTo>
                <a:lnTo>
                  <a:pt x="4308" y="3413"/>
                </a:lnTo>
                <a:lnTo>
                  <a:pt x="4315" y="3411"/>
                </a:lnTo>
                <a:lnTo>
                  <a:pt x="4318" y="3413"/>
                </a:lnTo>
                <a:lnTo>
                  <a:pt x="4322" y="3411"/>
                </a:lnTo>
                <a:lnTo>
                  <a:pt x="4339" y="3415"/>
                </a:lnTo>
                <a:lnTo>
                  <a:pt x="4344" y="3418"/>
                </a:lnTo>
                <a:lnTo>
                  <a:pt x="4346" y="3420"/>
                </a:lnTo>
                <a:lnTo>
                  <a:pt x="4349" y="3423"/>
                </a:lnTo>
                <a:lnTo>
                  <a:pt x="4351" y="3425"/>
                </a:lnTo>
                <a:lnTo>
                  <a:pt x="4356" y="3432"/>
                </a:lnTo>
                <a:lnTo>
                  <a:pt x="4358" y="3432"/>
                </a:lnTo>
                <a:lnTo>
                  <a:pt x="4365" y="3413"/>
                </a:lnTo>
                <a:lnTo>
                  <a:pt x="4370" y="3399"/>
                </a:lnTo>
                <a:lnTo>
                  <a:pt x="4365" y="3389"/>
                </a:lnTo>
                <a:lnTo>
                  <a:pt x="4367" y="3382"/>
                </a:lnTo>
                <a:lnTo>
                  <a:pt x="4365" y="3375"/>
                </a:lnTo>
                <a:lnTo>
                  <a:pt x="4360" y="3368"/>
                </a:lnTo>
                <a:lnTo>
                  <a:pt x="4353" y="3363"/>
                </a:lnTo>
                <a:lnTo>
                  <a:pt x="4360" y="3349"/>
                </a:lnTo>
                <a:lnTo>
                  <a:pt x="4360" y="3347"/>
                </a:lnTo>
                <a:lnTo>
                  <a:pt x="4358" y="3342"/>
                </a:lnTo>
                <a:lnTo>
                  <a:pt x="4358" y="3340"/>
                </a:lnTo>
                <a:lnTo>
                  <a:pt x="4358" y="3335"/>
                </a:lnTo>
                <a:lnTo>
                  <a:pt x="4360" y="3330"/>
                </a:lnTo>
                <a:lnTo>
                  <a:pt x="4367" y="3323"/>
                </a:lnTo>
                <a:lnTo>
                  <a:pt x="4365" y="3321"/>
                </a:lnTo>
                <a:lnTo>
                  <a:pt x="4365" y="3318"/>
                </a:lnTo>
                <a:lnTo>
                  <a:pt x="4365" y="3318"/>
                </a:lnTo>
                <a:lnTo>
                  <a:pt x="4365" y="3314"/>
                </a:lnTo>
                <a:lnTo>
                  <a:pt x="4363" y="3311"/>
                </a:lnTo>
                <a:lnTo>
                  <a:pt x="4358" y="3304"/>
                </a:lnTo>
                <a:lnTo>
                  <a:pt x="4358" y="3297"/>
                </a:lnTo>
                <a:lnTo>
                  <a:pt x="4358" y="3292"/>
                </a:lnTo>
                <a:lnTo>
                  <a:pt x="4363" y="3288"/>
                </a:lnTo>
                <a:lnTo>
                  <a:pt x="4377" y="3285"/>
                </a:lnTo>
                <a:lnTo>
                  <a:pt x="4382" y="3283"/>
                </a:lnTo>
                <a:lnTo>
                  <a:pt x="4386" y="3288"/>
                </a:lnTo>
                <a:lnTo>
                  <a:pt x="4389" y="3290"/>
                </a:lnTo>
                <a:lnTo>
                  <a:pt x="4396" y="3292"/>
                </a:lnTo>
                <a:lnTo>
                  <a:pt x="4396" y="3297"/>
                </a:lnTo>
                <a:lnTo>
                  <a:pt x="4393" y="3299"/>
                </a:lnTo>
                <a:lnTo>
                  <a:pt x="4393" y="3304"/>
                </a:lnTo>
                <a:lnTo>
                  <a:pt x="4396" y="3309"/>
                </a:lnTo>
                <a:lnTo>
                  <a:pt x="4401" y="3314"/>
                </a:lnTo>
                <a:lnTo>
                  <a:pt x="4398" y="3321"/>
                </a:lnTo>
                <a:lnTo>
                  <a:pt x="4410" y="3359"/>
                </a:lnTo>
                <a:lnTo>
                  <a:pt x="4410" y="3373"/>
                </a:lnTo>
                <a:lnTo>
                  <a:pt x="4405" y="3413"/>
                </a:lnTo>
                <a:lnTo>
                  <a:pt x="4405" y="3418"/>
                </a:lnTo>
                <a:lnTo>
                  <a:pt x="4405" y="3425"/>
                </a:lnTo>
                <a:moveTo>
                  <a:pt x="3397" y="3378"/>
                </a:moveTo>
                <a:lnTo>
                  <a:pt x="3397" y="3378"/>
                </a:lnTo>
                <a:lnTo>
                  <a:pt x="3397" y="3382"/>
                </a:lnTo>
                <a:lnTo>
                  <a:pt x="3395" y="3387"/>
                </a:lnTo>
                <a:lnTo>
                  <a:pt x="3390" y="3389"/>
                </a:lnTo>
                <a:lnTo>
                  <a:pt x="3386" y="3392"/>
                </a:lnTo>
                <a:lnTo>
                  <a:pt x="3381" y="3392"/>
                </a:lnTo>
                <a:lnTo>
                  <a:pt x="3374" y="3387"/>
                </a:lnTo>
                <a:lnTo>
                  <a:pt x="3374" y="3385"/>
                </a:lnTo>
                <a:lnTo>
                  <a:pt x="3376" y="3385"/>
                </a:lnTo>
                <a:lnTo>
                  <a:pt x="3386" y="3382"/>
                </a:lnTo>
                <a:lnTo>
                  <a:pt x="3388" y="3382"/>
                </a:lnTo>
                <a:lnTo>
                  <a:pt x="3388" y="3380"/>
                </a:lnTo>
                <a:lnTo>
                  <a:pt x="3390" y="3380"/>
                </a:lnTo>
                <a:lnTo>
                  <a:pt x="3390" y="3380"/>
                </a:lnTo>
                <a:lnTo>
                  <a:pt x="3393" y="3380"/>
                </a:lnTo>
                <a:lnTo>
                  <a:pt x="3395" y="3378"/>
                </a:lnTo>
                <a:lnTo>
                  <a:pt x="3395" y="3375"/>
                </a:lnTo>
                <a:lnTo>
                  <a:pt x="3397" y="3378"/>
                </a:lnTo>
                <a:moveTo>
                  <a:pt x="1069" y="2175"/>
                </a:moveTo>
                <a:lnTo>
                  <a:pt x="1069" y="2175"/>
                </a:lnTo>
                <a:lnTo>
                  <a:pt x="1074" y="2178"/>
                </a:lnTo>
                <a:lnTo>
                  <a:pt x="1076" y="2175"/>
                </a:lnTo>
                <a:lnTo>
                  <a:pt x="1081" y="2175"/>
                </a:lnTo>
                <a:lnTo>
                  <a:pt x="1086" y="2180"/>
                </a:lnTo>
                <a:lnTo>
                  <a:pt x="1086" y="2185"/>
                </a:lnTo>
                <a:lnTo>
                  <a:pt x="1086" y="2189"/>
                </a:lnTo>
                <a:lnTo>
                  <a:pt x="1086" y="2194"/>
                </a:lnTo>
                <a:lnTo>
                  <a:pt x="1088" y="2196"/>
                </a:lnTo>
                <a:lnTo>
                  <a:pt x="1088" y="2201"/>
                </a:lnTo>
                <a:lnTo>
                  <a:pt x="1088" y="2204"/>
                </a:lnTo>
                <a:lnTo>
                  <a:pt x="1090" y="2206"/>
                </a:lnTo>
                <a:lnTo>
                  <a:pt x="1100" y="2213"/>
                </a:lnTo>
                <a:lnTo>
                  <a:pt x="1100" y="2215"/>
                </a:lnTo>
                <a:lnTo>
                  <a:pt x="1102" y="2220"/>
                </a:lnTo>
                <a:lnTo>
                  <a:pt x="1100" y="2237"/>
                </a:lnTo>
                <a:lnTo>
                  <a:pt x="1095" y="2249"/>
                </a:lnTo>
                <a:lnTo>
                  <a:pt x="1090" y="2256"/>
                </a:lnTo>
                <a:lnTo>
                  <a:pt x="1086" y="2253"/>
                </a:lnTo>
                <a:lnTo>
                  <a:pt x="1081" y="2239"/>
                </a:lnTo>
                <a:lnTo>
                  <a:pt x="1079" y="2232"/>
                </a:lnTo>
                <a:lnTo>
                  <a:pt x="1076" y="2227"/>
                </a:lnTo>
                <a:lnTo>
                  <a:pt x="1060" y="2206"/>
                </a:lnTo>
                <a:lnTo>
                  <a:pt x="1053" y="2201"/>
                </a:lnTo>
                <a:lnTo>
                  <a:pt x="1048" y="2194"/>
                </a:lnTo>
                <a:lnTo>
                  <a:pt x="1041" y="2185"/>
                </a:lnTo>
                <a:lnTo>
                  <a:pt x="1043" y="2182"/>
                </a:lnTo>
                <a:lnTo>
                  <a:pt x="1043" y="2178"/>
                </a:lnTo>
                <a:lnTo>
                  <a:pt x="1041" y="2168"/>
                </a:lnTo>
                <a:lnTo>
                  <a:pt x="1034" y="2152"/>
                </a:lnTo>
                <a:lnTo>
                  <a:pt x="1043" y="2154"/>
                </a:lnTo>
                <a:lnTo>
                  <a:pt x="1053" y="2159"/>
                </a:lnTo>
                <a:lnTo>
                  <a:pt x="1062" y="2168"/>
                </a:lnTo>
                <a:lnTo>
                  <a:pt x="1069" y="2175"/>
                </a:lnTo>
                <a:moveTo>
                  <a:pt x="1017" y="2069"/>
                </a:moveTo>
                <a:lnTo>
                  <a:pt x="1017" y="2069"/>
                </a:lnTo>
                <a:lnTo>
                  <a:pt x="1017" y="2071"/>
                </a:lnTo>
                <a:lnTo>
                  <a:pt x="1015" y="2073"/>
                </a:lnTo>
                <a:lnTo>
                  <a:pt x="1008" y="2071"/>
                </a:lnTo>
                <a:lnTo>
                  <a:pt x="1005" y="2071"/>
                </a:lnTo>
                <a:lnTo>
                  <a:pt x="1010" y="2078"/>
                </a:lnTo>
                <a:lnTo>
                  <a:pt x="1019" y="2078"/>
                </a:lnTo>
                <a:lnTo>
                  <a:pt x="1027" y="2076"/>
                </a:lnTo>
                <a:lnTo>
                  <a:pt x="1034" y="2073"/>
                </a:lnTo>
                <a:lnTo>
                  <a:pt x="1034" y="2076"/>
                </a:lnTo>
                <a:lnTo>
                  <a:pt x="1029" y="2076"/>
                </a:lnTo>
                <a:lnTo>
                  <a:pt x="1029" y="2081"/>
                </a:lnTo>
                <a:lnTo>
                  <a:pt x="1034" y="2083"/>
                </a:lnTo>
                <a:lnTo>
                  <a:pt x="1064" y="2088"/>
                </a:lnTo>
                <a:lnTo>
                  <a:pt x="1072" y="2092"/>
                </a:lnTo>
                <a:lnTo>
                  <a:pt x="1076" y="2099"/>
                </a:lnTo>
                <a:lnTo>
                  <a:pt x="1081" y="2107"/>
                </a:lnTo>
                <a:lnTo>
                  <a:pt x="1076" y="2107"/>
                </a:lnTo>
                <a:lnTo>
                  <a:pt x="1076" y="2107"/>
                </a:lnTo>
                <a:lnTo>
                  <a:pt x="1072" y="2109"/>
                </a:lnTo>
                <a:lnTo>
                  <a:pt x="1072" y="2107"/>
                </a:lnTo>
                <a:lnTo>
                  <a:pt x="1069" y="2107"/>
                </a:lnTo>
                <a:lnTo>
                  <a:pt x="1055" y="2104"/>
                </a:lnTo>
                <a:lnTo>
                  <a:pt x="1027" y="2085"/>
                </a:lnTo>
                <a:lnTo>
                  <a:pt x="1010" y="2088"/>
                </a:lnTo>
                <a:lnTo>
                  <a:pt x="1005" y="2085"/>
                </a:lnTo>
                <a:lnTo>
                  <a:pt x="996" y="2071"/>
                </a:lnTo>
                <a:lnTo>
                  <a:pt x="991" y="2069"/>
                </a:lnTo>
                <a:lnTo>
                  <a:pt x="991" y="2066"/>
                </a:lnTo>
                <a:lnTo>
                  <a:pt x="1008" y="2064"/>
                </a:lnTo>
                <a:lnTo>
                  <a:pt x="1015" y="2064"/>
                </a:lnTo>
                <a:lnTo>
                  <a:pt x="1017" y="2066"/>
                </a:lnTo>
                <a:lnTo>
                  <a:pt x="1017" y="2069"/>
                </a:lnTo>
                <a:moveTo>
                  <a:pt x="783" y="1865"/>
                </a:moveTo>
                <a:lnTo>
                  <a:pt x="783" y="1865"/>
                </a:lnTo>
                <a:lnTo>
                  <a:pt x="788" y="1872"/>
                </a:lnTo>
                <a:lnTo>
                  <a:pt x="781" y="1870"/>
                </a:lnTo>
                <a:lnTo>
                  <a:pt x="757" y="1867"/>
                </a:lnTo>
                <a:lnTo>
                  <a:pt x="754" y="1860"/>
                </a:lnTo>
                <a:lnTo>
                  <a:pt x="757" y="1856"/>
                </a:lnTo>
                <a:lnTo>
                  <a:pt x="762" y="1856"/>
                </a:lnTo>
                <a:lnTo>
                  <a:pt x="766" y="1856"/>
                </a:lnTo>
                <a:lnTo>
                  <a:pt x="778" y="1863"/>
                </a:lnTo>
                <a:lnTo>
                  <a:pt x="783" y="1865"/>
                </a:lnTo>
                <a:moveTo>
                  <a:pt x="814" y="1754"/>
                </a:moveTo>
                <a:lnTo>
                  <a:pt x="814" y="1754"/>
                </a:lnTo>
                <a:lnTo>
                  <a:pt x="823" y="1759"/>
                </a:lnTo>
                <a:lnTo>
                  <a:pt x="825" y="1761"/>
                </a:lnTo>
                <a:lnTo>
                  <a:pt x="828" y="1768"/>
                </a:lnTo>
                <a:lnTo>
                  <a:pt x="828" y="1775"/>
                </a:lnTo>
                <a:lnTo>
                  <a:pt x="825" y="1782"/>
                </a:lnTo>
                <a:lnTo>
                  <a:pt x="821" y="1780"/>
                </a:lnTo>
                <a:lnTo>
                  <a:pt x="818" y="1768"/>
                </a:lnTo>
                <a:lnTo>
                  <a:pt x="811" y="1759"/>
                </a:lnTo>
                <a:lnTo>
                  <a:pt x="804" y="1754"/>
                </a:lnTo>
                <a:lnTo>
                  <a:pt x="797" y="1759"/>
                </a:lnTo>
                <a:lnTo>
                  <a:pt x="792" y="1752"/>
                </a:lnTo>
                <a:lnTo>
                  <a:pt x="788" y="1735"/>
                </a:lnTo>
                <a:lnTo>
                  <a:pt x="783" y="1728"/>
                </a:lnTo>
                <a:lnTo>
                  <a:pt x="799" y="1728"/>
                </a:lnTo>
                <a:lnTo>
                  <a:pt x="804" y="1728"/>
                </a:lnTo>
                <a:lnTo>
                  <a:pt x="811" y="1733"/>
                </a:lnTo>
                <a:lnTo>
                  <a:pt x="811" y="1737"/>
                </a:lnTo>
                <a:lnTo>
                  <a:pt x="809" y="1742"/>
                </a:lnTo>
                <a:lnTo>
                  <a:pt x="809" y="1749"/>
                </a:lnTo>
                <a:lnTo>
                  <a:pt x="814" y="1754"/>
                </a:lnTo>
                <a:moveTo>
                  <a:pt x="549" y="1593"/>
                </a:moveTo>
                <a:lnTo>
                  <a:pt x="549" y="1593"/>
                </a:lnTo>
                <a:lnTo>
                  <a:pt x="553" y="1595"/>
                </a:lnTo>
                <a:lnTo>
                  <a:pt x="563" y="1595"/>
                </a:lnTo>
                <a:lnTo>
                  <a:pt x="565" y="1598"/>
                </a:lnTo>
                <a:lnTo>
                  <a:pt x="563" y="1605"/>
                </a:lnTo>
                <a:lnTo>
                  <a:pt x="556" y="1607"/>
                </a:lnTo>
                <a:lnTo>
                  <a:pt x="532" y="1605"/>
                </a:lnTo>
                <a:lnTo>
                  <a:pt x="518" y="1600"/>
                </a:lnTo>
                <a:lnTo>
                  <a:pt x="513" y="1595"/>
                </a:lnTo>
                <a:lnTo>
                  <a:pt x="513" y="1588"/>
                </a:lnTo>
                <a:lnTo>
                  <a:pt x="513" y="1581"/>
                </a:lnTo>
                <a:lnTo>
                  <a:pt x="508" y="1576"/>
                </a:lnTo>
                <a:lnTo>
                  <a:pt x="508" y="1569"/>
                </a:lnTo>
                <a:lnTo>
                  <a:pt x="511" y="1567"/>
                </a:lnTo>
                <a:lnTo>
                  <a:pt x="511" y="1565"/>
                </a:lnTo>
                <a:lnTo>
                  <a:pt x="513" y="1565"/>
                </a:lnTo>
                <a:lnTo>
                  <a:pt x="516" y="1567"/>
                </a:lnTo>
                <a:lnTo>
                  <a:pt x="520" y="1567"/>
                </a:lnTo>
                <a:lnTo>
                  <a:pt x="532" y="1574"/>
                </a:lnTo>
                <a:lnTo>
                  <a:pt x="539" y="1581"/>
                </a:lnTo>
                <a:lnTo>
                  <a:pt x="539" y="1581"/>
                </a:lnTo>
                <a:lnTo>
                  <a:pt x="549" y="1593"/>
                </a:lnTo>
                <a:moveTo>
                  <a:pt x="23" y="1077"/>
                </a:moveTo>
                <a:lnTo>
                  <a:pt x="23" y="1077"/>
                </a:lnTo>
                <a:lnTo>
                  <a:pt x="23" y="1079"/>
                </a:lnTo>
                <a:lnTo>
                  <a:pt x="26" y="1079"/>
                </a:lnTo>
                <a:lnTo>
                  <a:pt x="26" y="1082"/>
                </a:lnTo>
                <a:lnTo>
                  <a:pt x="12" y="1089"/>
                </a:lnTo>
                <a:lnTo>
                  <a:pt x="7" y="1089"/>
                </a:lnTo>
                <a:lnTo>
                  <a:pt x="7" y="1086"/>
                </a:lnTo>
                <a:lnTo>
                  <a:pt x="7" y="1086"/>
                </a:lnTo>
                <a:lnTo>
                  <a:pt x="9" y="1086"/>
                </a:lnTo>
                <a:lnTo>
                  <a:pt x="9" y="1086"/>
                </a:lnTo>
                <a:lnTo>
                  <a:pt x="9" y="1082"/>
                </a:lnTo>
                <a:lnTo>
                  <a:pt x="7" y="1082"/>
                </a:lnTo>
                <a:lnTo>
                  <a:pt x="0" y="1084"/>
                </a:lnTo>
                <a:lnTo>
                  <a:pt x="0" y="1079"/>
                </a:lnTo>
                <a:lnTo>
                  <a:pt x="12" y="1075"/>
                </a:lnTo>
                <a:lnTo>
                  <a:pt x="19" y="1072"/>
                </a:lnTo>
                <a:lnTo>
                  <a:pt x="23" y="1077"/>
                </a:lnTo>
                <a:lnTo>
                  <a:pt x="23" y="1077"/>
                </a:lnTo>
                <a:lnTo>
                  <a:pt x="23" y="1077"/>
                </a:lnTo>
                <a:moveTo>
                  <a:pt x="2132" y="10"/>
                </a:moveTo>
                <a:lnTo>
                  <a:pt x="2132" y="10"/>
                </a:lnTo>
                <a:lnTo>
                  <a:pt x="2136" y="26"/>
                </a:lnTo>
                <a:lnTo>
                  <a:pt x="2139" y="36"/>
                </a:lnTo>
                <a:lnTo>
                  <a:pt x="2148" y="45"/>
                </a:lnTo>
                <a:lnTo>
                  <a:pt x="2153" y="52"/>
                </a:lnTo>
                <a:lnTo>
                  <a:pt x="2153" y="59"/>
                </a:lnTo>
                <a:lnTo>
                  <a:pt x="2153" y="62"/>
                </a:lnTo>
                <a:lnTo>
                  <a:pt x="2146" y="69"/>
                </a:lnTo>
                <a:lnTo>
                  <a:pt x="2146" y="73"/>
                </a:lnTo>
                <a:lnTo>
                  <a:pt x="2150" y="92"/>
                </a:lnTo>
                <a:lnTo>
                  <a:pt x="2150" y="95"/>
                </a:lnTo>
                <a:lnTo>
                  <a:pt x="2148" y="99"/>
                </a:lnTo>
                <a:lnTo>
                  <a:pt x="2148" y="102"/>
                </a:lnTo>
                <a:lnTo>
                  <a:pt x="2150" y="102"/>
                </a:lnTo>
                <a:lnTo>
                  <a:pt x="2153" y="104"/>
                </a:lnTo>
                <a:lnTo>
                  <a:pt x="2155" y="107"/>
                </a:lnTo>
                <a:lnTo>
                  <a:pt x="2158" y="111"/>
                </a:lnTo>
                <a:lnTo>
                  <a:pt x="2158" y="114"/>
                </a:lnTo>
                <a:lnTo>
                  <a:pt x="2160" y="114"/>
                </a:lnTo>
                <a:lnTo>
                  <a:pt x="2165" y="114"/>
                </a:lnTo>
                <a:lnTo>
                  <a:pt x="2167" y="114"/>
                </a:lnTo>
                <a:lnTo>
                  <a:pt x="2172" y="114"/>
                </a:lnTo>
                <a:lnTo>
                  <a:pt x="2174" y="114"/>
                </a:lnTo>
                <a:lnTo>
                  <a:pt x="2176" y="116"/>
                </a:lnTo>
                <a:lnTo>
                  <a:pt x="2179" y="118"/>
                </a:lnTo>
                <a:lnTo>
                  <a:pt x="2179" y="121"/>
                </a:lnTo>
                <a:lnTo>
                  <a:pt x="2181" y="123"/>
                </a:lnTo>
                <a:lnTo>
                  <a:pt x="2193" y="133"/>
                </a:lnTo>
                <a:lnTo>
                  <a:pt x="2193" y="135"/>
                </a:lnTo>
                <a:lnTo>
                  <a:pt x="2198" y="144"/>
                </a:lnTo>
                <a:lnTo>
                  <a:pt x="2200" y="147"/>
                </a:lnTo>
                <a:lnTo>
                  <a:pt x="2205" y="152"/>
                </a:lnTo>
                <a:lnTo>
                  <a:pt x="2229" y="161"/>
                </a:lnTo>
                <a:lnTo>
                  <a:pt x="2231" y="161"/>
                </a:lnTo>
                <a:lnTo>
                  <a:pt x="2236" y="159"/>
                </a:lnTo>
                <a:lnTo>
                  <a:pt x="2243" y="144"/>
                </a:lnTo>
                <a:lnTo>
                  <a:pt x="2247" y="140"/>
                </a:lnTo>
                <a:lnTo>
                  <a:pt x="2255" y="135"/>
                </a:lnTo>
                <a:lnTo>
                  <a:pt x="2290" y="123"/>
                </a:lnTo>
                <a:lnTo>
                  <a:pt x="2297" y="123"/>
                </a:lnTo>
                <a:lnTo>
                  <a:pt x="2302" y="128"/>
                </a:lnTo>
                <a:lnTo>
                  <a:pt x="2309" y="142"/>
                </a:lnTo>
                <a:lnTo>
                  <a:pt x="2314" y="152"/>
                </a:lnTo>
                <a:lnTo>
                  <a:pt x="2316" y="154"/>
                </a:lnTo>
                <a:lnTo>
                  <a:pt x="2318" y="154"/>
                </a:lnTo>
                <a:lnTo>
                  <a:pt x="2323" y="154"/>
                </a:lnTo>
                <a:lnTo>
                  <a:pt x="2326" y="159"/>
                </a:lnTo>
                <a:lnTo>
                  <a:pt x="2328" y="168"/>
                </a:lnTo>
                <a:lnTo>
                  <a:pt x="2326" y="175"/>
                </a:lnTo>
                <a:lnTo>
                  <a:pt x="2328" y="187"/>
                </a:lnTo>
                <a:lnTo>
                  <a:pt x="2337" y="211"/>
                </a:lnTo>
                <a:lnTo>
                  <a:pt x="2337" y="225"/>
                </a:lnTo>
                <a:lnTo>
                  <a:pt x="2340" y="230"/>
                </a:lnTo>
                <a:lnTo>
                  <a:pt x="2344" y="234"/>
                </a:lnTo>
                <a:lnTo>
                  <a:pt x="2347" y="237"/>
                </a:lnTo>
                <a:lnTo>
                  <a:pt x="2359" y="244"/>
                </a:lnTo>
                <a:lnTo>
                  <a:pt x="2363" y="244"/>
                </a:lnTo>
                <a:lnTo>
                  <a:pt x="2370" y="244"/>
                </a:lnTo>
                <a:lnTo>
                  <a:pt x="2382" y="239"/>
                </a:lnTo>
                <a:lnTo>
                  <a:pt x="2387" y="237"/>
                </a:lnTo>
                <a:lnTo>
                  <a:pt x="2389" y="232"/>
                </a:lnTo>
                <a:lnTo>
                  <a:pt x="2392" y="232"/>
                </a:lnTo>
                <a:lnTo>
                  <a:pt x="2394" y="230"/>
                </a:lnTo>
                <a:lnTo>
                  <a:pt x="2399" y="232"/>
                </a:lnTo>
                <a:lnTo>
                  <a:pt x="2401" y="234"/>
                </a:lnTo>
                <a:lnTo>
                  <a:pt x="2401" y="237"/>
                </a:lnTo>
                <a:lnTo>
                  <a:pt x="2399" y="241"/>
                </a:lnTo>
                <a:lnTo>
                  <a:pt x="2401" y="244"/>
                </a:lnTo>
                <a:lnTo>
                  <a:pt x="2420" y="244"/>
                </a:lnTo>
                <a:lnTo>
                  <a:pt x="2425" y="244"/>
                </a:lnTo>
                <a:lnTo>
                  <a:pt x="2432" y="246"/>
                </a:lnTo>
                <a:lnTo>
                  <a:pt x="2437" y="253"/>
                </a:lnTo>
                <a:lnTo>
                  <a:pt x="2441" y="260"/>
                </a:lnTo>
                <a:lnTo>
                  <a:pt x="2444" y="277"/>
                </a:lnTo>
                <a:lnTo>
                  <a:pt x="2446" y="296"/>
                </a:lnTo>
                <a:lnTo>
                  <a:pt x="2449" y="312"/>
                </a:lnTo>
                <a:lnTo>
                  <a:pt x="2460" y="322"/>
                </a:lnTo>
                <a:lnTo>
                  <a:pt x="2460" y="320"/>
                </a:lnTo>
                <a:lnTo>
                  <a:pt x="2460" y="320"/>
                </a:lnTo>
                <a:lnTo>
                  <a:pt x="2460" y="320"/>
                </a:lnTo>
                <a:lnTo>
                  <a:pt x="2463" y="317"/>
                </a:lnTo>
                <a:lnTo>
                  <a:pt x="2463" y="317"/>
                </a:lnTo>
                <a:lnTo>
                  <a:pt x="2463" y="312"/>
                </a:lnTo>
                <a:lnTo>
                  <a:pt x="2468" y="305"/>
                </a:lnTo>
                <a:lnTo>
                  <a:pt x="2470" y="303"/>
                </a:lnTo>
                <a:lnTo>
                  <a:pt x="2475" y="301"/>
                </a:lnTo>
                <a:lnTo>
                  <a:pt x="2486" y="298"/>
                </a:lnTo>
                <a:lnTo>
                  <a:pt x="2498" y="301"/>
                </a:lnTo>
                <a:lnTo>
                  <a:pt x="2503" y="303"/>
                </a:lnTo>
                <a:lnTo>
                  <a:pt x="2508" y="305"/>
                </a:lnTo>
                <a:lnTo>
                  <a:pt x="2512" y="308"/>
                </a:lnTo>
                <a:lnTo>
                  <a:pt x="2520" y="308"/>
                </a:lnTo>
                <a:lnTo>
                  <a:pt x="2536" y="298"/>
                </a:lnTo>
                <a:lnTo>
                  <a:pt x="2541" y="298"/>
                </a:lnTo>
                <a:lnTo>
                  <a:pt x="2548" y="301"/>
                </a:lnTo>
                <a:lnTo>
                  <a:pt x="2557" y="310"/>
                </a:lnTo>
                <a:lnTo>
                  <a:pt x="2562" y="312"/>
                </a:lnTo>
                <a:lnTo>
                  <a:pt x="2569" y="317"/>
                </a:lnTo>
                <a:lnTo>
                  <a:pt x="2576" y="334"/>
                </a:lnTo>
                <a:lnTo>
                  <a:pt x="2581" y="336"/>
                </a:lnTo>
                <a:lnTo>
                  <a:pt x="2583" y="334"/>
                </a:lnTo>
                <a:lnTo>
                  <a:pt x="2583" y="331"/>
                </a:lnTo>
                <a:lnTo>
                  <a:pt x="2583" y="329"/>
                </a:lnTo>
                <a:lnTo>
                  <a:pt x="2586" y="327"/>
                </a:lnTo>
                <a:lnTo>
                  <a:pt x="2588" y="327"/>
                </a:lnTo>
                <a:lnTo>
                  <a:pt x="2593" y="329"/>
                </a:lnTo>
                <a:lnTo>
                  <a:pt x="2598" y="331"/>
                </a:lnTo>
                <a:lnTo>
                  <a:pt x="2598" y="334"/>
                </a:lnTo>
                <a:lnTo>
                  <a:pt x="2598" y="339"/>
                </a:lnTo>
                <a:lnTo>
                  <a:pt x="2595" y="343"/>
                </a:lnTo>
                <a:lnTo>
                  <a:pt x="2588" y="348"/>
                </a:lnTo>
                <a:lnTo>
                  <a:pt x="2586" y="353"/>
                </a:lnTo>
                <a:lnTo>
                  <a:pt x="2586" y="355"/>
                </a:lnTo>
                <a:lnTo>
                  <a:pt x="2583" y="365"/>
                </a:lnTo>
                <a:lnTo>
                  <a:pt x="2581" y="381"/>
                </a:lnTo>
                <a:lnTo>
                  <a:pt x="2581" y="388"/>
                </a:lnTo>
                <a:lnTo>
                  <a:pt x="2583" y="391"/>
                </a:lnTo>
                <a:lnTo>
                  <a:pt x="2591" y="388"/>
                </a:lnTo>
                <a:lnTo>
                  <a:pt x="2593" y="386"/>
                </a:lnTo>
                <a:lnTo>
                  <a:pt x="2595" y="388"/>
                </a:lnTo>
                <a:lnTo>
                  <a:pt x="2600" y="407"/>
                </a:lnTo>
                <a:lnTo>
                  <a:pt x="2602" y="410"/>
                </a:lnTo>
                <a:lnTo>
                  <a:pt x="2605" y="414"/>
                </a:lnTo>
                <a:lnTo>
                  <a:pt x="2605" y="417"/>
                </a:lnTo>
                <a:lnTo>
                  <a:pt x="2598" y="419"/>
                </a:lnTo>
                <a:lnTo>
                  <a:pt x="2593" y="424"/>
                </a:lnTo>
                <a:lnTo>
                  <a:pt x="2588" y="431"/>
                </a:lnTo>
                <a:lnTo>
                  <a:pt x="2586" y="433"/>
                </a:lnTo>
                <a:lnTo>
                  <a:pt x="2583" y="436"/>
                </a:lnTo>
                <a:lnTo>
                  <a:pt x="2583" y="440"/>
                </a:lnTo>
                <a:lnTo>
                  <a:pt x="2586" y="440"/>
                </a:lnTo>
                <a:lnTo>
                  <a:pt x="2586" y="447"/>
                </a:lnTo>
                <a:lnTo>
                  <a:pt x="2588" y="454"/>
                </a:lnTo>
                <a:lnTo>
                  <a:pt x="2586" y="454"/>
                </a:lnTo>
                <a:lnTo>
                  <a:pt x="2600" y="462"/>
                </a:lnTo>
                <a:lnTo>
                  <a:pt x="2605" y="462"/>
                </a:lnTo>
                <a:lnTo>
                  <a:pt x="2626" y="457"/>
                </a:lnTo>
                <a:lnTo>
                  <a:pt x="2669" y="466"/>
                </a:lnTo>
                <a:lnTo>
                  <a:pt x="2678" y="466"/>
                </a:lnTo>
                <a:lnTo>
                  <a:pt x="2714" y="445"/>
                </a:lnTo>
                <a:lnTo>
                  <a:pt x="2725" y="443"/>
                </a:lnTo>
                <a:lnTo>
                  <a:pt x="2728" y="440"/>
                </a:lnTo>
                <a:lnTo>
                  <a:pt x="2730" y="436"/>
                </a:lnTo>
                <a:lnTo>
                  <a:pt x="2732" y="428"/>
                </a:lnTo>
                <a:lnTo>
                  <a:pt x="2735" y="414"/>
                </a:lnTo>
                <a:lnTo>
                  <a:pt x="2732" y="412"/>
                </a:lnTo>
                <a:lnTo>
                  <a:pt x="2732" y="410"/>
                </a:lnTo>
                <a:lnTo>
                  <a:pt x="2730" y="407"/>
                </a:lnTo>
                <a:lnTo>
                  <a:pt x="2732" y="402"/>
                </a:lnTo>
                <a:lnTo>
                  <a:pt x="2732" y="400"/>
                </a:lnTo>
                <a:lnTo>
                  <a:pt x="2761" y="367"/>
                </a:lnTo>
                <a:lnTo>
                  <a:pt x="2768" y="365"/>
                </a:lnTo>
                <a:lnTo>
                  <a:pt x="2770" y="369"/>
                </a:lnTo>
                <a:lnTo>
                  <a:pt x="2773" y="372"/>
                </a:lnTo>
                <a:lnTo>
                  <a:pt x="2780" y="369"/>
                </a:lnTo>
                <a:lnTo>
                  <a:pt x="2785" y="372"/>
                </a:lnTo>
                <a:lnTo>
                  <a:pt x="2785" y="379"/>
                </a:lnTo>
                <a:lnTo>
                  <a:pt x="2782" y="388"/>
                </a:lnTo>
                <a:lnTo>
                  <a:pt x="2782" y="395"/>
                </a:lnTo>
                <a:lnTo>
                  <a:pt x="2780" y="393"/>
                </a:lnTo>
                <a:lnTo>
                  <a:pt x="2777" y="393"/>
                </a:lnTo>
                <a:lnTo>
                  <a:pt x="2773" y="405"/>
                </a:lnTo>
                <a:lnTo>
                  <a:pt x="2773" y="410"/>
                </a:lnTo>
                <a:lnTo>
                  <a:pt x="2775" y="412"/>
                </a:lnTo>
                <a:lnTo>
                  <a:pt x="2775" y="417"/>
                </a:lnTo>
                <a:lnTo>
                  <a:pt x="2766" y="445"/>
                </a:lnTo>
                <a:lnTo>
                  <a:pt x="2766" y="450"/>
                </a:lnTo>
                <a:lnTo>
                  <a:pt x="2768" y="457"/>
                </a:lnTo>
                <a:lnTo>
                  <a:pt x="2782" y="462"/>
                </a:lnTo>
                <a:lnTo>
                  <a:pt x="2787" y="469"/>
                </a:lnTo>
                <a:lnTo>
                  <a:pt x="2787" y="473"/>
                </a:lnTo>
                <a:lnTo>
                  <a:pt x="2787" y="478"/>
                </a:lnTo>
                <a:lnTo>
                  <a:pt x="2787" y="481"/>
                </a:lnTo>
                <a:lnTo>
                  <a:pt x="2785" y="488"/>
                </a:lnTo>
                <a:lnTo>
                  <a:pt x="2785" y="490"/>
                </a:lnTo>
                <a:lnTo>
                  <a:pt x="2782" y="492"/>
                </a:lnTo>
                <a:lnTo>
                  <a:pt x="2782" y="495"/>
                </a:lnTo>
                <a:lnTo>
                  <a:pt x="2782" y="497"/>
                </a:lnTo>
                <a:lnTo>
                  <a:pt x="2785" y="502"/>
                </a:lnTo>
                <a:lnTo>
                  <a:pt x="2787" y="504"/>
                </a:lnTo>
                <a:lnTo>
                  <a:pt x="2787" y="521"/>
                </a:lnTo>
                <a:lnTo>
                  <a:pt x="2789" y="523"/>
                </a:lnTo>
                <a:lnTo>
                  <a:pt x="2796" y="523"/>
                </a:lnTo>
                <a:lnTo>
                  <a:pt x="2803" y="521"/>
                </a:lnTo>
                <a:lnTo>
                  <a:pt x="2815" y="516"/>
                </a:lnTo>
                <a:lnTo>
                  <a:pt x="2820" y="516"/>
                </a:lnTo>
                <a:lnTo>
                  <a:pt x="2825" y="518"/>
                </a:lnTo>
                <a:lnTo>
                  <a:pt x="2837" y="528"/>
                </a:lnTo>
                <a:lnTo>
                  <a:pt x="2841" y="530"/>
                </a:lnTo>
                <a:lnTo>
                  <a:pt x="2853" y="533"/>
                </a:lnTo>
                <a:lnTo>
                  <a:pt x="2856" y="537"/>
                </a:lnTo>
                <a:lnTo>
                  <a:pt x="2867" y="552"/>
                </a:lnTo>
                <a:lnTo>
                  <a:pt x="2872" y="556"/>
                </a:lnTo>
                <a:lnTo>
                  <a:pt x="2877" y="559"/>
                </a:lnTo>
                <a:lnTo>
                  <a:pt x="2884" y="561"/>
                </a:lnTo>
                <a:lnTo>
                  <a:pt x="2896" y="556"/>
                </a:lnTo>
                <a:lnTo>
                  <a:pt x="2903" y="556"/>
                </a:lnTo>
                <a:lnTo>
                  <a:pt x="2908" y="561"/>
                </a:lnTo>
                <a:lnTo>
                  <a:pt x="2915" y="568"/>
                </a:lnTo>
                <a:lnTo>
                  <a:pt x="2917" y="575"/>
                </a:lnTo>
                <a:lnTo>
                  <a:pt x="2915" y="575"/>
                </a:lnTo>
                <a:lnTo>
                  <a:pt x="2915" y="578"/>
                </a:lnTo>
                <a:lnTo>
                  <a:pt x="2912" y="582"/>
                </a:lnTo>
                <a:lnTo>
                  <a:pt x="2915" y="587"/>
                </a:lnTo>
                <a:lnTo>
                  <a:pt x="2915" y="589"/>
                </a:lnTo>
                <a:lnTo>
                  <a:pt x="2919" y="589"/>
                </a:lnTo>
                <a:lnTo>
                  <a:pt x="2922" y="589"/>
                </a:lnTo>
                <a:lnTo>
                  <a:pt x="2924" y="587"/>
                </a:lnTo>
                <a:lnTo>
                  <a:pt x="2924" y="585"/>
                </a:lnTo>
                <a:lnTo>
                  <a:pt x="2927" y="582"/>
                </a:lnTo>
                <a:lnTo>
                  <a:pt x="2927" y="582"/>
                </a:lnTo>
                <a:lnTo>
                  <a:pt x="2931" y="585"/>
                </a:lnTo>
                <a:lnTo>
                  <a:pt x="2938" y="587"/>
                </a:lnTo>
                <a:lnTo>
                  <a:pt x="2945" y="592"/>
                </a:lnTo>
                <a:lnTo>
                  <a:pt x="2960" y="615"/>
                </a:lnTo>
                <a:lnTo>
                  <a:pt x="2962" y="618"/>
                </a:lnTo>
                <a:lnTo>
                  <a:pt x="2962" y="623"/>
                </a:lnTo>
                <a:lnTo>
                  <a:pt x="2960" y="627"/>
                </a:lnTo>
                <a:lnTo>
                  <a:pt x="2960" y="630"/>
                </a:lnTo>
                <a:lnTo>
                  <a:pt x="2962" y="634"/>
                </a:lnTo>
                <a:lnTo>
                  <a:pt x="2969" y="637"/>
                </a:lnTo>
                <a:lnTo>
                  <a:pt x="2976" y="632"/>
                </a:lnTo>
                <a:lnTo>
                  <a:pt x="2983" y="625"/>
                </a:lnTo>
                <a:lnTo>
                  <a:pt x="2988" y="623"/>
                </a:lnTo>
                <a:lnTo>
                  <a:pt x="2995" y="625"/>
                </a:lnTo>
                <a:lnTo>
                  <a:pt x="2997" y="627"/>
                </a:lnTo>
                <a:lnTo>
                  <a:pt x="3002" y="625"/>
                </a:lnTo>
                <a:lnTo>
                  <a:pt x="3002" y="623"/>
                </a:lnTo>
                <a:lnTo>
                  <a:pt x="3005" y="620"/>
                </a:lnTo>
                <a:lnTo>
                  <a:pt x="3007" y="615"/>
                </a:lnTo>
                <a:lnTo>
                  <a:pt x="3014" y="611"/>
                </a:lnTo>
                <a:lnTo>
                  <a:pt x="3019" y="613"/>
                </a:lnTo>
                <a:lnTo>
                  <a:pt x="3026" y="615"/>
                </a:lnTo>
                <a:lnTo>
                  <a:pt x="3033" y="615"/>
                </a:lnTo>
                <a:lnTo>
                  <a:pt x="3035" y="613"/>
                </a:lnTo>
                <a:lnTo>
                  <a:pt x="3038" y="608"/>
                </a:lnTo>
                <a:lnTo>
                  <a:pt x="3040" y="608"/>
                </a:lnTo>
                <a:lnTo>
                  <a:pt x="3045" y="608"/>
                </a:lnTo>
                <a:lnTo>
                  <a:pt x="3050" y="611"/>
                </a:lnTo>
                <a:lnTo>
                  <a:pt x="3054" y="611"/>
                </a:lnTo>
                <a:lnTo>
                  <a:pt x="3064" y="623"/>
                </a:lnTo>
                <a:lnTo>
                  <a:pt x="3068" y="627"/>
                </a:lnTo>
                <a:lnTo>
                  <a:pt x="3076" y="630"/>
                </a:lnTo>
                <a:lnTo>
                  <a:pt x="3095" y="632"/>
                </a:lnTo>
                <a:lnTo>
                  <a:pt x="3099" y="637"/>
                </a:lnTo>
                <a:lnTo>
                  <a:pt x="3104" y="649"/>
                </a:lnTo>
                <a:lnTo>
                  <a:pt x="3109" y="646"/>
                </a:lnTo>
                <a:lnTo>
                  <a:pt x="3132" y="644"/>
                </a:lnTo>
                <a:lnTo>
                  <a:pt x="3137" y="641"/>
                </a:lnTo>
                <a:lnTo>
                  <a:pt x="3139" y="637"/>
                </a:lnTo>
                <a:lnTo>
                  <a:pt x="3142" y="637"/>
                </a:lnTo>
                <a:lnTo>
                  <a:pt x="3142" y="634"/>
                </a:lnTo>
                <a:lnTo>
                  <a:pt x="3142" y="632"/>
                </a:lnTo>
                <a:lnTo>
                  <a:pt x="3144" y="630"/>
                </a:lnTo>
                <a:lnTo>
                  <a:pt x="3144" y="627"/>
                </a:lnTo>
                <a:lnTo>
                  <a:pt x="3154" y="627"/>
                </a:lnTo>
                <a:lnTo>
                  <a:pt x="3151" y="623"/>
                </a:lnTo>
                <a:lnTo>
                  <a:pt x="3165" y="620"/>
                </a:lnTo>
                <a:lnTo>
                  <a:pt x="3175" y="620"/>
                </a:lnTo>
                <a:lnTo>
                  <a:pt x="3182" y="623"/>
                </a:lnTo>
                <a:lnTo>
                  <a:pt x="3196" y="632"/>
                </a:lnTo>
                <a:lnTo>
                  <a:pt x="3203" y="634"/>
                </a:lnTo>
                <a:lnTo>
                  <a:pt x="3210" y="634"/>
                </a:lnTo>
                <a:lnTo>
                  <a:pt x="3213" y="634"/>
                </a:lnTo>
                <a:lnTo>
                  <a:pt x="3215" y="634"/>
                </a:lnTo>
                <a:lnTo>
                  <a:pt x="3220" y="630"/>
                </a:lnTo>
                <a:lnTo>
                  <a:pt x="3222" y="630"/>
                </a:lnTo>
                <a:lnTo>
                  <a:pt x="3225" y="630"/>
                </a:lnTo>
                <a:lnTo>
                  <a:pt x="3251" y="639"/>
                </a:lnTo>
                <a:lnTo>
                  <a:pt x="3258" y="644"/>
                </a:lnTo>
                <a:lnTo>
                  <a:pt x="3258" y="649"/>
                </a:lnTo>
                <a:lnTo>
                  <a:pt x="3260" y="651"/>
                </a:lnTo>
                <a:lnTo>
                  <a:pt x="3260" y="653"/>
                </a:lnTo>
                <a:lnTo>
                  <a:pt x="3260" y="653"/>
                </a:lnTo>
                <a:lnTo>
                  <a:pt x="3262" y="656"/>
                </a:lnTo>
                <a:lnTo>
                  <a:pt x="3277" y="670"/>
                </a:lnTo>
                <a:lnTo>
                  <a:pt x="3277" y="672"/>
                </a:lnTo>
                <a:lnTo>
                  <a:pt x="3277" y="675"/>
                </a:lnTo>
                <a:lnTo>
                  <a:pt x="3272" y="677"/>
                </a:lnTo>
                <a:lnTo>
                  <a:pt x="3270" y="679"/>
                </a:lnTo>
                <a:lnTo>
                  <a:pt x="3272" y="684"/>
                </a:lnTo>
                <a:lnTo>
                  <a:pt x="3277" y="691"/>
                </a:lnTo>
                <a:lnTo>
                  <a:pt x="3298" y="708"/>
                </a:lnTo>
                <a:lnTo>
                  <a:pt x="3298" y="708"/>
                </a:lnTo>
                <a:lnTo>
                  <a:pt x="3298" y="712"/>
                </a:lnTo>
                <a:lnTo>
                  <a:pt x="3298" y="715"/>
                </a:lnTo>
                <a:lnTo>
                  <a:pt x="3300" y="715"/>
                </a:lnTo>
                <a:lnTo>
                  <a:pt x="3305" y="717"/>
                </a:lnTo>
                <a:lnTo>
                  <a:pt x="3305" y="717"/>
                </a:lnTo>
                <a:lnTo>
                  <a:pt x="3307" y="724"/>
                </a:lnTo>
                <a:lnTo>
                  <a:pt x="3310" y="727"/>
                </a:lnTo>
                <a:lnTo>
                  <a:pt x="3310" y="729"/>
                </a:lnTo>
                <a:lnTo>
                  <a:pt x="3310" y="731"/>
                </a:lnTo>
                <a:lnTo>
                  <a:pt x="3312" y="734"/>
                </a:lnTo>
                <a:lnTo>
                  <a:pt x="3312" y="731"/>
                </a:lnTo>
                <a:lnTo>
                  <a:pt x="3317" y="729"/>
                </a:lnTo>
                <a:lnTo>
                  <a:pt x="3317" y="729"/>
                </a:lnTo>
                <a:lnTo>
                  <a:pt x="3319" y="736"/>
                </a:lnTo>
                <a:lnTo>
                  <a:pt x="3319" y="741"/>
                </a:lnTo>
                <a:lnTo>
                  <a:pt x="3319" y="748"/>
                </a:lnTo>
                <a:lnTo>
                  <a:pt x="3322" y="753"/>
                </a:lnTo>
                <a:lnTo>
                  <a:pt x="3326" y="753"/>
                </a:lnTo>
                <a:lnTo>
                  <a:pt x="3338" y="753"/>
                </a:lnTo>
                <a:lnTo>
                  <a:pt x="3350" y="755"/>
                </a:lnTo>
                <a:lnTo>
                  <a:pt x="3352" y="755"/>
                </a:lnTo>
                <a:lnTo>
                  <a:pt x="3357" y="748"/>
                </a:lnTo>
                <a:lnTo>
                  <a:pt x="3355" y="741"/>
                </a:lnTo>
                <a:lnTo>
                  <a:pt x="3352" y="734"/>
                </a:lnTo>
                <a:lnTo>
                  <a:pt x="3355" y="729"/>
                </a:lnTo>
                <a:lnTo>
                  <a:pt x="3357" y="727"/>
                </a:lnTo>
                <a:lnTo>
                  <a:pt x="3369" y="729"/>
                </a:lnTo>
                <a:lnTo>
                  <a:pt x="3376" y="727"/>
                </a:lnTo>
                <a:lnTo>
                  <a:pt x="3378" y="727"/>
                </a:lnTo>
                <a:lnTo>
                  <a:pt x="3397" y="736"/>
                </a:lnTo>
                <a:lnTo>
                  <a:pt x="3404" y="736"/>
                </a:lnTo>
                <a:lnTo>
                  <a:pt x="3404" y="750"/>
                </a:lnTo>
                <a:lnTo>
                  <a:pt x="3409" y="762"/>
                </a:lnTo>
                <a:lnTo>
                  <a:pt x="3416" y="767"/>
                </a:lnTo>
                <a:lnTo>
                  <a:pt x="3423" y="760"/>
                </a:lnTo>
                <a:lnTo>
                  <a:pt x="3423" y="757"/>
                </a:lnTo>
                <a:lnTo>
                  <a:pt x="3423" y="755"/>
                </a:lnTo>
                <a:lnTo>
                  <a:pt x="3423" y="753"/>
                </a:lnTo>
                <a:lnTo>
                  <a:pt x="3426" y="750"/>
                </a:lnTo>
                <a:lnTo>
                  <a:pt x="3426" y="750"/>
                </a:lnTo>
                <a:lnTo>
                  <a:pt x="3438" y="757"/>
                </a:lnTo>
                <a:lnTo>
                  <a:pt x="3442" y="760"/>
                </a:lnTo>
                <a:lnTo>
                  <a:pt x="3447" y="760"/>
                </a:lnTo>
                <a:lnTo>
                  <a:pt x="3471" y="760"/>
                </a:lnTo>
                <a:lnTo>
                  <a:pt x="3478" y="762"/>
                </a:lnTo>
                <a:lnTo>
                  <a:pt x="3480" y="762"/>
                </a:lnTo>
                <a:lnTo>
                  <a:pt x="3483" y="760"/>
                </a:lnTo>
                <a:lnTo>
                  <a:pt x="3485" y="755"/>
                </a:lnTo>
                <a:lnTo>
                  <a:pt x="3485" y="753"/>
                </a:lnTo>
                <a:lnTo>
                  <a:pt x="3487" y="750"/>
                </a:lnTo>
                <a:lnTo>
                  <a:pt x="3494" y="750"/>
                </a:lnTo>
                <a:lnTo>
                  <a:pt x="3497" y="748"/>
                </a:lnTo>
                <a:lnTo>
                  <a:pt x="3497" y="746"/>
                </a:lnTo>
                <a:lnTo>
                  <a:pt x="3499" y="739"/>
                </a:lnTo>
                <a:lnTo>
                  <a:pt x="3499" y="736"/>
                </a:lnTo>
                <a:lnTo>
                  <a:pt x="3504" y="734"/>
                </a:lnTo>
                <a:lnTo>
                  <a:pt x="3511" y="731"/>
                </a:lnTo>
                <a:lnTo>
                  <a:pt x="3516" y="731"/>
                </a:lnTo>
                <a:lnTo>
                  <a:pt x="3518" y="736"/>
                </a:lnTo>
                <a:lnTo>
                  <a:pt x="3530" y="736"/>
                </a:lnTo>
                <a:lnTo>
                  <a:pt x="3535" y="736"/>
                </a:lnTo>
                <a:lnTo>
                  <a:pt x="3537" y="743"/>
                </a:lnTo>
                <a:lnTo>
                  <a:pt x="3535" y="746"/>
                </a:lnTo>
                <a:lnTo>
                  <a:pt x="3535" y="746"/>
                </a:lnTo>
                <a:lnTo>
                  <a:pt x="3535" y="748"/>
                </a:lnTo>
                <a:lnTo>
                  <a:pt x="3539" y="750"/>
                </a:lnTo>
                <a:lnTo>
                  <a:pt x="3546" y="760"/>
                </a:lnTo>
                <a:lnTo>
                  <a:pt x="3549" y="765"/>
                </a:lnTo>
                <a:lnTo>
                  <a:pt x="3556" y="767"/>
                </a:lnTo>
                <a:lnTo>
                  <a:pt x="3568" y="769"/>
                </a:lnTo>
                <a:lnTo>
                  <a:pt x="3575" y="772"/>
                </a:lnTo>
                <a:lnTo>
                  <a:pt x="3577" y="774"/>
                </a:lnTo>
                <a:lnTo>
                  <a:pt x="3580" y="779"/>
                </a:lnTo>
                <a:lnTo>
                  <a:pt x="3584" y="781"/>
                </a:lnTo>
                <a:lnTo>
                  <a:pt x="3587" y="781"/>
                </a:lnTo>
                <a:lnTo>
                  <a:pt x="3591" y="781"/>
                </a:lnTo>
                <a:lnTo>
                  <a:pt x="3594" y="779"/>
                </a:lnTo>
                <a:lnTo>
                  <a:pt x="3596" y="779"/>
                </a:lnTo>
                <a:lnTo>
                  <a:pt x="3601" y="779"/>
                </a:lnTo>
                <a:lnTo>
                  <a:pt x="3606" y="779"/>
                </a:lnTo>
                <a:lnTo>
                  <a:pt x="3608" y="779"/>
                </a:lnTo>
                <a:lnTo>
                  <a:pt x="3613" y="779"/>
                </a:lnTo>
                <a:lnTo>
                  <a:pt x="3617" y="774"/>
                </a:lnTo>
                <a:lnTo>
                  <a:pt x="3622" y="774"/>
                </a:lnTo>
                <a:lnTo>
                  <a:pt x="3646" y="779"/>
                </a:lnTo>
                <a:lnTo>
                  <a:pt x="3660" y="774"/>
                </a:lnTo>
                <a:lnTo>
                  <a:pt x="3665" y="774"/>
                </a:lnTo>
                <a:lnTo>
                  <a:pt x="3712" y="793"/>
                </a:lnTo>
                <a:lnTo>
                  <a:pt x="3740" y="798"/>
                </a:lnTo>
                <a:lnTo>
                  <a:pt x="3743" y="800"/>
                </a:lnTo>
                <a:lnTo>
                  <a:pt x="3738" y="807"/>
                </a:lnTo>
                <a:lnTo>
                  <a:pt x="3731" y="824"/>
                </a:lnTo>
                <a:lnTo>
                  <a:pt x="3724" y="862"/>
                </a:lnTo>
                <a:lnTo>
                  <a:pt x="3719" y="866"/>
                </a:lnTo>
                <a:lnTo>
                  <a:pt x="3719" y="869"/>
                </a:lnTo>
                <a:lnTo>
                  <a:pt x="3710" y="876"/>
                </a:lnTo>
                <a:lnTo>
                  <a:pt x="3707" y="876"/>
                </a:lnTo>
                <a:lnTo>
                  <a:pt x="3705" y="876"/>
                </a:lnTo>
                <a:lnTo>
                  <a:pt x="3705" y="878"/>
                </a:lnTo>
                <a:lnTo>
                  <a:pt x="3703" y="881"/>
                </a:lnTo>
                <a:lnTo>
                  <a:pt x="3703" y="885"/>
                </a:lnTo>
                <a:lnTo>
                  <a:pt x="3703" y="888"/>
                </a:lnTo>
                <a:lnTo>
                  <a:pt x="3703" y="888"/>
                </a:lnTo>
                <a:lnTo>
                  <a:pt x="3700" y="890"/>
                </a:lnTo>
                <a:lnTo>
                  <a:pt x="3691" y="890"/>
                </a:lnTo>
                <a:lnTo>
                  <a:pt x="3688" y="892"/>
                </a:lnTo>
                <a:lnTo>
                  <a:pt x="3688" y="895"/>
                </a:lnTo>
                <a:lnTo>
                  <a:pt x="3688" y="904"/>
                </a:lnTo>
                <a:lnTo>
                  <a:pt x="3688" y="907"/>
                </a:lnTo>
                <a:lnTo>
                  <a:pt x="3684" y="911"/>
                </a:lnTo>
                <a:lnTo>
                  <a:pt x="3681" y="916"/>
                </a:lnTo>
                <a:lnTo>
                  <a:pt x="3679" y="918"/>
                </a:lnTo>
                <a:lnTo>
                  <a:pt x="3672" y="928"/>
                </a:lnTo>
                <a:lnTo>
                  <a:pt x="3667" y="933"/>
                </a:lnTo>
                <a:lnTo>
                  <a:pt x="3662" y="933"/>
                </a:lnTo>
                <a:lnTo>
                  <a:pt x="3660" y="937"/>
                </a:lnTo>
                <a:lnTo>
                  <a:pt x="3651" y="956"/>
                </a:lnTo>
                <a:lnTo>
                  <a:pt x="3651" y="970"/>
                </a:lnTo>
                <a:lnTo>
                  <a:pt x="3651" y="985"/>
                </a:lnTo>
                <a:lnTo>
                  <a:pt x="3655" y="994"/>
                </a:lnTo>
                <a:lnTo>
                  <a:pt x="3655" y="996"/>
                </a:lnTo>
                <a:lnTo>
                  <a:pt x="3648" y="1004"/>
                </a:lnTo>
                <a:lnTo>
                  <a:pt x="3646" y="1006"/>
                </a:lnTo>
                <a:lnTo>
                  <a:pt x="3646" y="1011"/>
                </a:lnTo>
                <a:lnTo>
                  <a:pt x="3646" y="1018"/>
                </a:lnTo>
                <a:lnTo>
                  <a:pt x="3643" y="1023"/>
                </a:lnTo>
                <a:lnTo>
                  <a:pt x="3643" y="1025"/>
                </a:lnTo>
                <a:lnTo>
                  <a:pt x="3641" y="1030"/>
                </a:lnTo>
                <a:lnTo>
                  <a:pt x="3641" y="1034"/>
                </a:lnTo>
                <a:lnTo>
                  <a:pt x="3639" y="1046"/>
                </a:lnTo>
                <a:lnTo>
                  <a:pt x="3639" y="1051"/>
                </a:lnTo>
                <a:lnTo>
                  <a:pt x="3641" y="1058"/>
                </a:lnTo>
                <a:lnTo>
                  <a:pt x="3643" y="1063"/>
                </a:lnTo>
                <a:lnTo>
                  <a:pt x="3646" y="1067"/>
                </a:lnTo>
                <a:lnTo>
                  <a:pt x="3646" y="1075"/>
                </a:lnTo>
                <a:lnTo>
                  <a:pt x="3641" y="1079"/>
                </a:lnTo>
                <a:lnTo>
                  <a:pt x="3636" y="1084"/>
                </a:lnTo>
                <a:lnTo>
                  <a:pt x="3634" y="1089"/>
                </a:lnTo>
                <a:lnTo>
                  <a:pt x="3632" y="1096"/>
                </a:lnTo>
                <a:lnTo>
                  <a:pt x="3632" y="1105"/>
                </a:lnTo>
                <a:lnTo>
                  <a:pt x="3632" y="1112"/>
                </a:lnTo>
                <a:lnTo>
                  <a:pt x="3629" y="1120"/>
                </a:lnTo>
                <a:lnTo>
                  <a:pt x="3613" y="1146"/>
                </a:lnTo>
                <a:lnTo>
                  <a:pt x="3613" y="1153"/>
                </a:lnTo>
                <a:lnTo>
                  <a:pt x="3613" y="1157"/>
                </a:lnTo>
                <a:lnTo>
                  <a:pt x="3610" y="1162"/>
                </a:lnTo>
                <a:lnTo>
                  <a:pt x="3610" y="1165"/>
                </a:lnTo>
                <a:lnTo>
                  <a:pt x="3608" y="1169"/>
                </a:lnTo>
                <a:lnTo>
                  <a:pt x="3606" y="1174"/>
                </a:lnTo>
                <a:lnTo>
                  <a:pt x="3606" y="1183"/>
                </a:lnTo>
                <a:lnTo>
                  <a:pt x="3608" y="1200"/>
                </a:lnTo>
                <a:lnTo>
                  <a:pt x="3622" y="1221"/>
                </a:lnTo>
                <a:lnTo>
                  <a:pt x="3624" y="1236"/>
                </a:lnTo>
                <a:lnTo>
                  <a:pt x="3622" y="1240"/>
                </a:lnTo>
                <a:lnTo>
                  <a:pt x="3615" y="1250"/>
                </a:lnTo>
                <a:lnTo>
                  <a:pt x="3615" y="1254"/>
                </a:lnTo>
                <a:lnTo>
                  <a:pt x="3615" y="1262"/>
                </a:lnTo>
                <a:lnTo>
                  <a:pt x="3615" y="1264"/>
                </a:lnTo>
                <a:lnTo>
                  <a:pt x="3615" y="1269"/>
                </a:lnTo>
                <a:lnTo>
                  <a:pt x="3613" y="1269"/>
                </a:lnTo>
                <a:lnTo>
                  <a:pt x="3610" y="1271"/>
                </a:lnTo>
                <a:lnTo>
                  <a:pt x="3610" y="1273"/>
                </a:lnTo>
                <a:lnTo>
                  <a:pt x="3610" y="1276"/>
                </a:lnTo>
                <a:lnTo>
                  <a:pt x="3610" y="1276"/>
                </a:lnTo>
                <a:lnTo>
                  <a:pt x="3610" y="1278"/>
                </a:lnTo>
                <a:lnTo>
                  <a:pt x="3610" y="1281"/>
                </a:lnTo>
                <a:lnTo>
                  <a:pt x="3613" y="1288"/>
                </a:lnTo>
                <a:lnTo>
                  <a:pt x="3613" y="1292"/>
                </a:lnTo>
                <a:lnTo>
                  <a:pt x="3610" y="1295"/>
                </a:lnTo>
                <a:lnTo>
                  <a:pt x="3608" y="1297"/>
                </a:lnTo>
                <a:lnTo>
                  <a:pt x="3606" y="1311"/>
                </a:lnTo>
                <a:lnTo>
                  <a:pt x="3606" y="1316"/>
                </a:lnTo>
                <a:lnTo>
                  <a:pt x="3610" y="1333"/>
                </a:lnTo>
                <a:lnTo>
                  <a:pt x="3610" y="1337"/>
                </a:lnTo>
                <a:lnTo>
                  <a:pt x="3610" y="1342"/>
                </a:lnTo>
                <a:lnTo>
                  <a:pt x="3606" y="1347"/>
                </a:lnTo>
                <a:lnTo>
                  <a:pt x="3606" y="1349"/>
                </a:lnTo>
                <a:lnTo>
                  <a:pt x="3606" y="1359"/>
                </a:lnTo>
                <a:lnTo>
                  <a:pt x="3608" y="1363"/>
                </a:lnTo>
                <a:lnTo>
                  <a:pt x="3608" y="1366"/>
                </a:lnTo>
                <a:lnTo>
                  <a:pt x="3613" y="1366"/>
                </a:lnTo>
                <a:lnTo>
                  <a:pt x="3617" y="1373"/>
                </a:lnTo>
                <a:lnTo>
                  <a:pt x="3624" y="1385"/>
                </a:lnTo>
                <a:lnTo>
                  <a:pt x="3627" y="1387"/>
                </a:lnTo>
                <a:lnTo>
                  <a:pt x="3629" y="1387"/>
                </a:lnTo>
                <a:lnTo>
                  <a:pt x="3632" y="1389"/>
                </a:lnTo>
                <a:lnTo>
                  <a:pt x="3632" y="1394"/>
                </a:lnTo>
                <a:lnTo>
                  <a:pt x="3632" y="1394"/>
                </a:lnTo>
                <a:lnTo>
                  <a:pt x="3632" y="1399"/>
                </a:lnTo>
                <a:lnTo>
                  <a:pt x="3629" y="1399"/>
                </a:lnTo>
                <a:lnTo>
                  <a:pt x="3632" y="1399"/>
                </a:lnTo>
                <a:lnTo>
                  <a:pt x="3622" y="1404"/>
                </a:lnTo>
                <a:lnTo>
                  <a:pt x="3615" y="1408"/>
                </a:lnTo>
                <a:lnTo>
                  <a:pt x="3603" y="1420"/>
                </a:lnTo>
                <a:lnTo>
                  <a:pt x="3603" y="1420"/>
                </a:lnTo>
                <a:lnTo>
                  <a:pt x="3608" y="1425"/>
                </a:lnTo>
                <a:lnTo>
                  <a:pt x="3610" y="1425"/>
                </a:lnTo>
                <a:lnTo>
                  <a:pt x="3610" y="1427"/>
                </a:lnTo>
                <a:lnTo>
                  <a:pt x="3610" y="1430"/>
                </a:lnTo>
                <a:lnTo>
                  <a:pt x="3608" y="1432"/>
                </a:lnTo>
                <a:lnTo>
                  <a:pt x="3603" y="1432"/>
                </a:lnTo>
                <a:lnTo>
                  <a:pt x="3603" y="1432"/>
                </a:lnTo>
                <a:lnTo>
                  <a:pt x="3603" y="1434"/>
                </a:lnTo>
                <a:lnTo>
                  <a:pt x="3603" y="1434"/>
                </a:lnTo>
                <a:lnTo>
                  <a:pt x="3606" y="1439"/>
                </a:lnTo>
                <a:lnTo>
                  <a:pt x="3606" y="1439"/>
                </a:lnTo>
                <a:lnTo>
                  <a:pt x="3606" y="1439"/>
                </a:lnTo>
                <a:lnTo>
                  <a:pt x="3606" y="1441"/>
                </a:lnTo>
                <a:lnTo>
                  <a:pt x="3606" y="1441"/>
                </a:lnTo>
                <a:lnTo>
                  <a:pt x="3601" y="1446"/>
                </a:lnTo>
                <a:lnTo>
                  <a:pt x="3598" y="1446"/>
                </a:lnTo>
                <a:lnTo>
                  <a:pt x="3594" y="1444"/>
                </a:lnTo>
                <a:lnTo>
                  <a:pt x="3589" y="1444"/>
                </a:lnTo>
                <a:lnTo>
                  <a:pt x="3587" y="1444"/>
                </a:lnTo>
                <a:lnTo>
                  <a:pt x="3587" y="1446"/>
                </a:lnTo>
                <a:lnTo>
                  <a:pt x="3587" y="1449"/>
                </a:lnTo>
                <a:lnTo>
                  <a:pt x="3589" y="1451"/>
                </a:lnTo>
                <a:lnTo>
                  <a:pt x="3589" y="1453"/>
                </a:lnTo>
                <a:lnTo>
                  <a:pt x="3591" y="1456"/>
                </a:lnTo>
                <a:lnTo>
                  <a:pt x="3591" y="1458"/>
                </a:lnTo>
                <a:lnTo>
                  <a:pt x="3584" y="1467"/>
                </a:lnTo>
                <a:lnTo>
                  <a:pt x="3577" y="1470"/>
                </a:lnTo>
                <a:lnTo>
                  <a:pt x="3558" y="1472"/>
                </a:lnTo>
                <a:lnTo>
                  <a:pt x="3551" y="1475"/>
                </a:lnTo>
                <a:lnTo>
                  <a:pt x="3539" y="1479"/>
                </a:lnTo>
                <a:lnTo>
                  <a:pt x="3537" y="1479"/>
                </a:lnTo>
                <a:lnTo>
                  <a:pt x="3535" y="1479"/>
                </a:lnTo>
                <a:lnTo>
                  <a:pt x="3535" y="1477"/>
                </a:lnTo>
                <a:lnTo>
                  <a:pt x="3535" y="1477"/>
                </a:lnTo>
                <a:lnTo>
                  <a:pt x="3532" y="1475"/>
                </a:lnTo>
                <a:lnTo>
                  <a:pt x="3523" y="1475"/>
                </a:lnTo>
                <a:lnTo>
                  <a:pt x="3518" y="1470"/>
                </a:lnTo>
                <a:lnTo>
                  <a:pt x="3516" y="1463"/>
                </a:lnTo>
                <a:lnTo>
                  <a:pt x="3518" y="1451"/>
                </a:lnTo>
                <a:lnTo>
                  <a:pt x="3511" y="1453"/>
                </a:lnTo>
                <a:lnTo>
                  <a:pt x="3506" y="1453"/>
                </a:lnTo>
                <a:lnTo>
                  <a:pt x="3504" y="1451"/>
                </a:lnTo>
                <a:lnTo>
                  <a:pt x="3497" y="1451"/>
                </a:lnTo>
                <a:lnTo>
                  <a:pt x="3483" y="1453"/>
                </a:lnTo>
                <a:lnTo>
                  <a:pt x="3475" y="1453"/>
                </a:lnTo>
                <a:lnTo>
                  <a:pt x="3473" y="1451"/>
                </a:lnTo>
                <a:lnTo>
                  <a:pt x="3468" y="1451"/>
                </a:lnTo>
                <a:lnTo>
                  <a:pt x="3466" y="1451"/>
                </a:lnTo>
                <a:lnTo>
                  <a:pt x="3464" y="1453"/>
                </a:lnTo>
                <a:lnTo>
                  <a:pt x="3459" y="1456"/>
                </a:lnTo>
                <a:lnTo>
                  <a:pt x="3461" y="1460"/>
                </a:lnTo>
                <a:lnTo>
                  <a:pt x="3464" y="1467"/>
                </a:lnTo>
                <a:lnTo>
                  <a:pt x="3466" y="1472"/>
                </a:lnTo>
                <a:lnTo>
                  <a:pt x="3464" y="1475"/>
                </a:lnTo>
                <a:lnTo>
                  <a:pt x="3459" y="1479"/>
                </a:lnTo>
                <a:lnTo>
                  <a:pt x="3457" y="1482"/>
                </a:lnTo>
                <a:lnTo>
                  <a:pt x="3447" y="1484"/>
                </a:lnTo>
                <a:lnTo>
                  <a:pt x="3449" y="1494"/>
                </a:lnTo>
                <a:lnTo>
                  <a:pt x="3442" y="1498"/>
                </a:lnTo>
                <a:lnTo>
                  <a:pt x="3438" y="1503"/>
                </a:lnTo>
                <a:lnTo>
                  <a:pt x="3435" y="1510"/>
                </a:lnTo>
                <a:lnTo>
                  <a:pt x="3433" y="1517"/>
                </a:lnTo>
                <a:lnTo>
                  <a:pt x="3468" y="1510"/>
                </a:lnTo>
                <a:lnTo>
                  <a:pt x="3473" y="1508"/>
                </a:lnTo>
                <a:lnTo>
                  <a:pt x="3478" y="1510"/>
                </a:lnTo>
                <a:lnTo>
                  <a:pt x="3483" y="1512"/>
                </a:lnTo>
                <a:lnTo>
                  <a:pt x="3485" y="1517"/>
                </a:lnTo>
                <a:lnTo>
                  <a:pt x="3483" y="1522"/>
                </a:lnTo>
                <a:lnTo>
                  <a:pt x="3480" y="1524"/>
                </a:lnTo>
                <a:lnTo>
                  <a:pt x="3478" y="1527"/>
                </a:lnTo>
                <a:lnTo>
                  <a:pt x="3475" y="1527"/>
                </a:lnTo>
                <a:lnTo>
                  <a:pt x="3471" y="1534"/>
                </a:lnTo>
                <a:lnTo>
                  <a:pt x="3471" y="1534"/>
                </a:lnTo>
                <a:lnTo>
                  <a:pt x="3468" y="1534"/>
                </a:lnTo>
                <a:lnTo>
                  <a:pt x="3464" y="1541"/>
                </a:lnTo>
                <a:lnTo>
                  <a:pt x="3461" y="1550"/>
                </a:lnTo>
                <a:lnTo>
                  <a:pt x="3464" y="1560"/>
                </a:lnTo>
                <a:lnTo>
                  <a:pt x="3445" y="1576"/>
                </a:lnTo>
                <a:lnTo>
                  <a:pt x="3438" y="1586"/>
                </a:lnTo>
                <a:lnTo>
                  <a:pt x="3433" y="1595"/>
                </a:lnTo>
                <a:lnTo>
                  <a:pt x="3416" y="1614"/>
                </a:lnTo>
                <a:lnTo>
                  <a:pt x="3407" y="1619"/>
                </a:lnTo>
                <a:lnTo>
                  <a:pt x="3409" y="1626"/>
                </a:lnTo>
                <a:lnTo>
                  <a:pt x="3404" y="1628"/>
                </a:lnTo>
                <a:lnTo>
                  <a:pt x="3404" y="1628"/>
                </a:lnTo>
                <a:lnTo>
                  <a:pt x="3402" y="1631"/>
                </a:lnTo>
                <a:lnTo>
                  <a:pt x="3395" y="1636"/>
                </a:lnTo>
                <a:lnTo>
                  <a:pt x="3393" y="1638"/>
                </a:lnTo>
                <a:lnTo>
                  <a:pt x="3390" y="1645"/>
                </a:lnTo>
                <a:lnTo>
                  <a:pt x="3395" y="1652"/>
                </a:lnTo>
                <a:lnTo>
                  <a:pt x="3388" y="1662"/>
                </a:lnTo>
                <a:lnTo>
                  <a:pt x="3369" y="1678"/>
                </a:lnTo>
                <a:lnTo>
                  <a:pt x="3341" y="1692"/>
                </a:lnTo>
                <a:lnTo>
                  <a:pt x="3326" y="1702"/>
                </a:lnTo>
                <a:lnTo>
                  <a:pt x="3324" y="1716"/>
                </a:lnTo>
                <a:lnTo>
                  <a:pt x="3324" y="1721"/>
                </a:lnTo>
                <a:lnTo>
                  <a:pt x="3329" y="1728"/>
                </a:lnTo>
                <a:lnTo>
                  <a:pt x="3331" y="1733"/>
                </a:lnTo>
                <a:lnTo>
                  <a:pt x="3331" y="1737"/>
                </a:lnTo>
                <a:lnTo>
                  <a:pt x="3329" y="1742"/>
                </a:lnTo>
                <a:lnTo>
                  <a:pt x="3326" y="1744"/>
                </a:lnTo>
                <a:lnTo>
                  <a:pt x="3324" y="1759"/>
                </a:lnTo>
                <a:lnTo>
                  <a:pt x="3324" y="1761"/>
                </a:lnTo>
                <a:lnTo>
                  <a:pt x="3324" y="1763"/>
                </a:lnTo>
                <a:lnTo>
                  <a:pt x="3326" y="1766"/>
                </a:lnTo>
                <a:lnTo>
                  <a:pt x="3329" y="1768"/>
                </a:lnTo>
                <a:lnTo>
                  <a:pt x="3329" y="1775"/>
                </a:lnTo>
                <a:lnTo>
                  <a:pt x="3329" y="1780"/>
                </a:lnTo>
                <a:lnTo>
                  <a:pt x="3326" y="1785"/>
                </a:lnTo>
                <a:lnTo>
                  <a:pt x="3324" y="1787"/>
                </a:lnTo>
                <a:lnTo>
                  <a:pt x="3315" y="1792"/>
                </a:lnTo>
                <a:lnTo>
                  <a:pt x="3307" y="1801"/>
                </a:lnTo>
                <a:lnTo>
                  <a:pt x="3305" y="1804"/>
                </a:lnTo>
                <a:lnTo>
                  <a:pt x="3284" y="1818"/>
                </a:lnTo>
                <a:lnTo>
                  <a:pt x="3248" y="1856"/>
                </a:lnTo>
                <a:lnTo>
                  <a:pt x="3244" y="1863"/>
                </a:lnTo>
                <a:lnTo>
                  <a:pt x="3246" y="1867"/>
                </a:lnTo>
                <a:lnTo>
                  <a:pt x="3253" y="1875"/>
                </a:lnTo>
                <a:lnTo>
                  <a:pt x="3244" y="1889"/>
                </a:lnTo>
                <a:lnTo>
                  <a:pt x="3234" y="1908"/>
                </a:lnTo>
                <a:lnTo>
                  <a:pt x="3232" y="1910"/>
                </a:lnTo>
                <a:lnTo>
                  <a:pt x="3232" y="1912"/>
                </a:lnTo>
                <a:lnTo>
                  <a:pt x="3232" y="1915"/>
                </a:lnTo>
                <a:lnTo>
                  <a:pt x="3232" y="1917"/>
                </a:lnTo>
                <a:lnTo>
                  <a:pt x="3234" y="1920"/>
                </a:lnTo>
                <a:lnTo>
                  <a:pt x="3234" y="1920"/>
                </a:lnTo>
                <a:lnTo>
                  <a:pt x="3234" y="1924"/>
                </a:lnTo>
                <a:lnTo>
                  <a:pt x="3234" y="1927"/>
                </a:lnTo>
                <a:lnTo>
                  <a:pt x="3234" y="1929"/>
                </a:lnTo>
                <a:lnTo>
                  <a:pt x="3232" y="1934"/>
                </a:lnTo>
                <a:lnTo>
                  <a:pt x="3248" y="1941"/>
                </a:lnTo>
                <a:lnTo>
                  <a:pt x="3253" y="1946"/>
                </a:lnTo>
                <a:lnTo>
                  <a:pt x="3255" y="1953"/>
                </a:lnTo>
                <a:lnTo>
                  <a:pt x="3258" y="1957"/>
                </a:lnTo>
                <a:lnTo>
                  <a:pt x="3248" y="1979"/>
                </a:lnTo>
                <a:lnTo>
                  <a:pt x="3248" y="1983"/>
                </a:lnTo>
                <a:lnTo>
                  <a:pt x="3248" y="1995"/>
                </a:lnTo>
                <a:lnTo>
                  <a:pt x="3248" y="2000"/>
                </a:lnTo>
                <a:lnTo>
                  <a:pt x="3248" y="2002"/>
                </a:lnTo>
                <a:lnTo>
                  <a:pt x="3246" y="2007"/>
                </a:lnTo>
                <a:lnTo>
                  <a:pt x="3241" y="2010"/>
                </a:lnTo>
                <a:lnTo>
                  <a:pt x="3239" y="2010"/>
                </a:lnTo>
                <a:lnTo>
                  <a:pt x="3236" y="2010"/>
                </a:lnTo>
                <a:lnTo>
                  <a:pt x="3234" y="2007"/>
                </a:lnTo>
                <a:lnTo>
                  <a:pt x="3234" y="2007"/>
                </a:lnTo>
                <a:lnTo>
                  <a:pt x="3234" y="2007"/>
                </a:lnTo>
                <a:lnTo>
                  <a:pt x="3234" y="2010"/>
                </a:lnTo>
                <a:lnTo>
                  <a:pt x="3215" y="2019"/>
                </a:lnTo>
                <a:lnTo>
                  <a:pt x="3210" y="2024"/>
                </a:lnTo>
                <a:lnTo>
                  <a:pt x="3208" y="2028"/>
                </a:lnTo>
                <a:lnTo>
                  <a:pt x="3213" y="2036"/>
                </a:lnTo>
                <a:lnTo>
                  <a:pt x="3218" y="2040"/>
                </a:lnTo>
                <a:lnTo>
                  <a:pt x="3218" y="2045"/>
                </a:lnTo>
                <a:lnTo>
                  <a:pt x="3215" y="2050"/>
                </a:lnTo>
                <a:lnTo>
                  <a:pt x="3213" y="2059"/>
                </a:lnTo>
                <a:lnTo>
                  <a:pt x="3220" y="2054"/>
                </a:lnTo>
                <a:lnTo>
                  <a:pt x="3232" y="2050"/>
                </a:lnTo>
                <a:lnTo>
                  <a:pt x="3246" y="2047"/>
                </a:lnTo>
                <a:lnTo>
                  <a:pt x="3255" y="2052"/>
                </a:lnTo>
                <a:lnTo>
                  <a:pt x="3265" y="2045"/>
                </a:lnTo>
                <a:lnTo>
                  <a:pt x="3279" y="2026"/>
                </a:lnTo>
                <a:lnTo>
                  <a:pt x="3296" y="2014"/>
                </a:lnTo>
                <a:lnTo>
                  <a:pt x="3303" y="2005"/>
                </a:lnTo>
                <a:lnTo>
                  <a:pt x="3300" y="1995"/>
                </a:lnTo>
                <a:lnTo>
                  <a:pt x="3298" y="1993"/>
                </a:lnTo>
                <a:lnTo>
                  <a:pt x="3293" y="1998"/>
                </a:lnTo>
                <a:lnTo>
                  <a:pt x="3291" y="1995"/>
                </a:lnTo>
                <a:lnTo>
                  <a:pt x="3289" y="1993"/>
                </a:lnTo>
                <a:lnTo>
                  <a:pt x="3286" y="1986"/>
                </a:lnTo>
                <a:lnTo>
                  <a:pt x="3286" y="1986"/>
                </a:lnTo>
                <a:lnTo>
                  <a:pt x="3284" y="1979"/>
                </a:lnTo>
                <a:lnTo>
                  <a:pt x="3281" y="1974"/>
                </a:lnTo>
                <a:lnTo>
                  <a:pt x="3281" y="1967"/>
                </a:lnTo>
                <a:lnTo>
                  <a:pt x="3289" y="1960"/>
                </a:lnTo>
                <a:lnTo>
                  <a:pt x="3296" y="1948"/>
                </a:lnTo>
                <a:lnTo>
                  <a:pt x="3305" y="1938"/>
                </a:lnTo>
                <a:lnTo>
                  <a:pt x="3312" y="1934"/>
                </a:lnTo>
                <a:lnTo>
                  <a:pt x="3322" y="1934"/>
                </a:lnTo>
                <a:lnTo>
                  <a:pt x="3331" y="1929"/>
                </a:lnTo>
                <a:lnTo>
                  <a:pt x="3355" y="1910"/>
                </a:lnTo>
                <a:lnTo>
                  <a:pt x="3374" y="1905"/>
                </a:lnTo>
                <a:lnTo>
                  <a:pt x="3393" y="1905"/>
                </a:lnTo>
                <a:lnTo>
                  <a:pt x="3438" y="1912"/>
                </a:lnTo>
                <a:lnTo>
                  <a:pt x="3442" y="1915"/>
                </a:lnTo>
                <a:lnTo>
                  <a:pt x="3445" y="1917"/>
                </a:lnTo>
                <a:lnTo>
                  <a:pt x="3447" y="1927"/>
                </a:lnTo>
                <a:lnTo>
                  <a:pt x="3445" y="1934"/>
                </a:lnTo>
                <a:lnTo>
                  <a:pt x="3438" y="1943"/>
                </a:lnTo>
                <a:lnTo>
                  <a:pt x="3438" y="1948"/>
                </a:lnTo>
                <a:lnTo>
                  <a:pt x="3445" y="1957"/>
                </a:lnTo>
                <a:lnTo>
                  <a:pt x="3454" y="1967"/>
                </a:lnTo>
                <a:lnTo>
                  <a:pt x="3464" y="1979"/>
                </a:lnTo>
                <a:lnTo>
                  <a:pt x="3454" y="2000"/>
                </a:lnTo>
                <a:lnTo>
                  <a:pt x="3449" y="2017"/>
                </a:lnTo>
                <a:lnTo>
                  <a:pt x="3449" y="2031"/>
                </a:lnTo>
                <a:lnTo>
                  <a:pt x="3452" y="2038"/>
                </a:lnTo>
                <a:lnTo>
                  <a:pt x="3475" y="2040"/>
                </a:lnTo>
                <a:lnTo>
                  <a:pt x="3480" y="2045"/>
                </a:lnTo>
                <a:lnTo>
                  <a:pt x="3480" y="2047"/>
                </a:lnTo>
                <a:lnTo>
                  <a:pt x="3478" y="2052"/>
                </a:lnTo>
                <a:lnTo>
                  <a:pt x="3478" y="2054"/>
                </a:lnTo>
                <a:lnTo>
                  <a:pt x="3475" y="2057"/>
                </a:lnTo>
                <a:lnTo>
                  <a:pt x="3475" y="2057"/>
                </a:lnTo>
                <a:lnTo>
                  <a:pt x="3478" y="2062"/>
                </a:lnTo>
                <a:lnTo>
                  <a:pt x="3478" y="2064"/>
                </a:lnTo>
                <a:lnTo>
                  <a:pt x="3478" y="2066"/>
                </a:lnTo>
                <a:lnTo>
                  <a:pt x="3478" y="2069"/>
                </a:lnTo>
                <a:lnTo>
                  <a:pt x="3478" y="2071"/>
                </a:lnTo>
                <a:lnTo>
                  <a:pt x="3478" y="2071"/>
                </a:lnTo>
                <a:lnTo>
                  <a:pt x="3480" y="2073"/>
                </a:lnTo>
                <a:lnTo>
                  <a:pt x="3483" y="2073"/>
                </a:lnTo>
                <a:lnTo>
                  <a:pt x="3485" y="2071"/>
                </a:lnTo>
                <a:lnTo>
                  <a:pt x="3487" y="2069"/>
                </a:lnTo>
                <a:lnTo>
                  <a:pt x="3490" y="2069"/>
                </a:lnTo>
                <a:lnTo>
                  <a:pt x="3497" y="2071"/>
                </a:lnTo>
                <a:lnTo>
                  <a:pt x="3518" y="2092"/>
                </a:lnTo>
                <a:lnTo>
                  <a:pt x="3520" y="2092"/>
                </a:lnTo>
                <a:lnTo>
                  <a:pt x="3520" y="2097"/>
                </a:lnTo>
                <a:lnTo>
                  <a:pt x="3525" y="2107"/>
                </a:lnTo>
                <a:lnTo>
                  <a:pt x="3527" y="2114"/>
                </a:lnTo>
                <a:lnTo>
                  <a:pt x="3530" y="2118"/>
                </a:lnTo>
                <a:lnTo>
                  <a:pt x="3532" y="2121"/>
                </a:lnTo>
                <a:lnTo>
                  <a:pt x="3527" y="2123"/>
                </a:lnTo>
                <a:lnTo>
                  <a:pt x="3525" y="2128"/>
                </a:lnTo>
                <a:lnTo>
                  <a:pt x="3525" y="2133"/>
                </a:lnTo>
                <a:lnTo>
                  <a:pt x="3523" y="2137"/>
                </a:lnTo>
                <a:lnTo>
                  <a:pt x="3518" y="2144"/>
                </a:lnTo>
                <a:lnTo>
                  <a:pt x="3513" y="2152"/>
                </a:lnTo>
                <a:lnTo>
                  <a:pt x="3506" y="2154"/>
                </a:lnTo>
                <a:lnTo>
                  <a:pt x="3501" y="2159"/>
                </a:lnTo>
                <a:lnTo>
                  <a:pt x="3494" y="2159"/>
                </a:lnTo>
                <a:lnTo>
                  <a:pt x="3492" y="2159"/>
                </a:lnTo>
                <a:lnTo>
                  <a:pt x="3490" y="2159"/>
                </a:lnTo>
                <a:lnTo>
                  <a:pt x="3487" y="2156"/>
                </a:lnTo>
                <a:lnTo>
                  <a:pt x="3487" y="2156"/>
                </a:lnTo>
                <a:lnTo>
                  <a:pt x="3485" y="2159"/>
                </a:lnTo>
                <a:lnTo>
                  <a:pt x="3485" y="2161"/>
                </a:lnTo>
                <a:lnTo>
                  <a:pt x="3485" y="2163"/>
                </a:lnTo>
                <a:lnTo>
                  <a:pt x="3485" y="2163"/>
                </a:lnTo>
                <a:lnTo>
                  <a:pt x="3475" y="2166"/>
                </a:lnTo>
                <a:lnTo>
                  <a:pt x="3471" y="2168"/>
                </a:lnTo>
                <a:lnTo>
                  <a:pt x="3468" y="2175"/>
                </a:lnTo>
                <a:lnTo>
                  <a:pt x="3466" y="2182"/>
                </a:lnTo>
                <a:lnTo>
                  <a:pt x="3468" y="2189"/>
                </a:lnTo>
                <a:lnTo>
                  <a:pt x="3468" y="2196"/>
                </a:lnTo>
                <a:lnTo>
                  <a:pt x="3473" y="2215"/>
                </a:lnTo>
                <a:lnTo>
                  <a:pt x="3480" y="2223"/>
                </a:lnTo>
                <a:lnTo>
                  <a:pt x="3490" y="2227"/>
                </a:lnTo>
                <a:lnTo>
                  <a:pt x="3497" y="2230"/>
                </a:lnTo>
                <a:lnTo>
                  <a:pt x="3501" y="2230"/>
                </a:lnTo>
                <a:lnTo>
                  <a:pt x="3509" y="2237"/>
                </a:lnTo>
                <a:lnTo>
                  <a:pt x="3513" y="2239"/>
                </a:lnTo>
                <a:lnTo>
                  <a:pt x="3523" y="2241"/>
                </a:lnTo>
                <a:lnTo>
                  <a:pt x="3525" y="2244"/>
                </a:lnTo>
                <a:lnTo>
                  <a:pt x="3527" y="2249"/>
                </a:lnTo>
                <a:lnTo>
                  <a:pt x="3527" y="2251"/>
                </a:lnTo>
                <a:lnTo>
                  <a:pt x="3525" y="2260"/>
                </a:lnTo>
                <a:lnTo>
                  <a:pt x="3525" y="2263"/>
                </a:lnTo>
                <a:lnTo>
                  <a:pt x="3525" y="2267"/>
                </a:lnTo>
                <a:lnTo>
                  <a:pt x="3530" y="2272"/>
                </a:lnTo>
                <a:lnTo>
                  <a:pt x="3530" y="2275"/>
                </a:lnTo>
                <a:lnTo>
                  <a:pt x="3535" y="2291"/>
                </a:lnTo>
                <a:lnTo>
                  <a:pt x="3537" y="2298"/>
                </a:lnTo>
                <a:lnTo>
                  <a:pt x="3551" y="2305"/>
                </a:lnTo>
                <a:lnTo>
                  <a:pt x="3565" y="2312"/>
                </a:lnTo>
                <a:lnTo>
                  <a:pt x="3568" y="2317"/>
                </a:lnTo>
                <a:lnTo>
                  <a:pt x="3570" y="2322"/>
                </a:lnTo>
                <a:lnTo>
                  <a:pt x="3572" y="2327"/>
                </a:lnTo>
                <a:lnTo>
                  <a:pt x="3577" y="2329"/>
                </a:lnTo>
                <a:lnTo>
                  <a:pt x="3591" y="2334"/>
                </a:lnTo>
                <a:lnTo>
                  <a:pt x="3594" y="2336"/>
                </a:lnTo>
                <a:lnTo>
                  <a:pt x="3594" y="2341"/>
                </a:lnTo>
                <a:lnTo>
                  <a:pt x="3591" y="2348"/>
                </a:lnTo>
                <a:lnTo>
                  <a:pt x="3587" y="2360"/>
                </a:lnTo>
                <a:lnTo>
                  <a:pt x="3577" y="2372"/>
                </a:lnTo>
                <a:lnTo>
                  <a:pt x="3577" y="2374"/>
                </a:lnTo>
                <a:lnTo>
                  <a:pt x="3580" y="2386"/>
                </a:lnTo>
                <a:lnTo>
                  <a:pt x="3582" y="2395"/>
                </a:lnTo>
                <a:lnTo>
                  <a:pt x="3584" y="2402"/>
                </a:lnTo>
                <a:lnTo>
                  <a:pt x="3575" y="2410"/>
                </a:lnTo>
                <a:lnTo>
                  <a:pt x="3570" y="2421"/>
                </a:lnTo>
                <a:lnTo>
                  <a:pt x="3570" y="2424"/>
                </a:lnTo>
                <a:lnTo>
                  <a:pt x="3568" y="2421"/>
                </a:lnTo>
                <a:lnTo>
                  <a:pt x="3563" y="2419"/>
                </a:lnTo>
                <a:lnTo>
                  <a:pt x="3561" y="2417"/>
                </a:lnTo>
                <a:lnTo>
                  <a:pt x="3551" y="2421"/>
                </a:lnTo>
                <a:lnTo>
                  <a:pt x="3539" y="2426"/>
                </a:lnTo>
                <a:lnTo>
                  <a:pt x="3537" y="2431"/>
                </a:lnTo>
                <a:lnTo>
                  <a:pt x="3532" y="2440"/>
                </a:lnTo>
                <a:lnTo>
                  <a:pt x="3527" y="2445"/>
                </a:lnTo>
                <a:lnTo>
                  <a:pt x="3525" y="2445"/>
                </a:lnTo>
                <a:lnTo>
                  <a:pt x="3518" y="2447"/>
                </a:lnTo>
                <a:lnTo>
                  <a:pt x="3516" y="2447"/>
                </a:lnTo>
                <a:lnTo>
                  <a:pt x="3516" y="2452"/>
                </a:lnTo>
                <a:lnTo>
                  <a:pt x="3518" y="2454"/>
                </a:lnTo>
                <a:lnTo>
                  <a:pt x="3518" y="2454"/>
                </a:lnTo>
                <a:lnTo>
                  <a:pt x="3518" y="2459"/>
                </a:lnTo>
                <a:lnTo>
                  <a:pt x="3509" y="2464"/>
                </a:lnTo>
                <a:lnTo>
                  <a:pt x="3499" y="2462"/>
                </a:lnTo>
                <a:lnTo>
                  <a:pt x="3487" y="2454"/>
                </a:lnTo>
                <a:lnTo>
                  <a:pt x="3475" y="2454"/>
                </a:lnTo>
                <a:lnTo>
                  <a:pt x="3473" y="2457"/>
                </a:lnTo>
                <a:lnTo>
                  <a:pt x="3468" y="2462"/>
                </a:lnTo>
                <a:lnTo>
                  <a:pt x="3466" y="2462"/>
                </a:lnTo>
                <a:lnTo>
                  <a:pt x="3464" y="2464"/>
                </a:lnTo>
                <a:lnTo>
                  <a:pt x="3459" y="2464"/>
                </a:lnTo>
                <a:lnTo>
                  <a:pt x="3457" y="2464"/>
                </a:lnTo>
                <a:lnTo>
                  <a:pt x="3447" y="2471"/>
                </a:lnTo>
                <a:lnTo>
                  <a:pt x="3440" y="2476"/>
                </a:lnTo>
                <a:lnTo>
                  <a:pt x="3438" y="2481"/>
                </a:lnTo>
                <a:lnTo>
                  <a:pt x="3445" y="2488"/>
                </a:lnTo>
                <a:lnTo>
                  <a:pt x="3449" y="2492"/>
                </a:lnTo>
                <a:lnTo>
                  <a:pt x="3449" y="2495"/>
                </a:lnTo>
                <a:lnTo>
                  <a:pt x="3449" y="2499"/>
                </a:lnTo>
                <a:lnTo>
                  <a:pt x="3452" y="2502"/>
                </a:lnTo>
                <a:lnTo>
                  <a:pt x="3454" y="2509"/>
                </a:lnTo>
                <a:lnTo>
                  <a:pt x="3459" y="2511"/>
                </a:lnTo>
                <a:lnTo>
                  <a:pt x="3468" y="2511"/>
                </a:lnTo>
                <a:lnTo>
                  <a:pt x="3478" y="2516"/>
                </a:lnTo>
                <a:lnTo>
                  <a:pt x="3480" y="2528"/>
                </a:lnTo>
                <a:lnTo>
                  <a:pt x="3483" y="2552"/>
                </a:lnTo>
                <a:lnTo>
                  <a:pt x="3487" y="2561"/>
                </a:lnTo>
                <a:lnTo>
                  <a:pt x="3499" y="2568"/>
                </a:lnTo>
                <a:lnTo>
                  <a:pt x="3520" y="2580"/>
                </a:lnTo>
                <a:lnTo>
                  <a:pt x="3525" y="2580"/>
                </a:lnTo>
                <a:lnTo>
                  <a:pt x="3539" y="2575"/>
                </a:lnTo>
                <a:lnTo>
                  <a:pt x="3546" y="2575"/>
                </a:lnTo>
                <a:lnTo>
                  <a:pt x="3561" y="2580"/>
                </a:lnTo>
                <a:lnTo>
                  <a:pt x="3568" y="2587"/>
                </a:lnTo>
                <a:lnTo>
                  <a:pt x="3568" y="2587"/>
                </a:lnTo>
                <a:lnTo>
                  <a:pt x="3570" y="2589"/>
                </a:lnTo>
                <a:lnTo>
                  <a:pt x="3570" y="2592"/>
                </a:lnTo>
                <a:lnTo>
                  <a:pt x="3570" y="2594"/>
                </a:lnTo>
                <a:lnTo>
                  <a:pt x="3570" y="2594"/>
                </a:lnTo>
                <a:lnTo>
                  <a:pt x="3568" y="2596"/>
                </a:lnTo>
                <a:lnTo>
                  <a:pt x="3568" y="2601"/>
                </a:lnTo>
                <a:lnTo>
                  <a:pt x="3568" y="2604"/>
                </a:lnTo>
                <a:lnTo>
                  <a:pt x="3572" y="2611"/>
                </a:lnTo>
                <a:lnTo>
                  <a:pt x="3575" y="2623"/>
                </a:lnTo>
                <a:lnTo>
                  <a:pt x="3575" y="2625"/>
                </a:lnTo>
                <a:lnTo>
                  <a:pt x="3587" y="2641"/>
                </a:lnTo>
                <a:lnTo>
                  <a:pt x="3589" y="2649"/>
                </a:lnTo>
                <a:lnTo>
                  <a:pt x="3584" y="2649"/>
                </a:lnTo>
                <a:lnTo>
                  <a:pt x="3572" y="2646"/>
                </a:lnTo>
                <a:lnTo>
                  <a:pt x="3568" y="2646"/>
                </a:lnTo>
                <a:lnTo>
                  <a:pt x="3561" y="2651"/>
                </a:lnTo>
                <a:lnTo>
                  <a:pt x="3556" y="2658"/>
                </a:lnTo>
                <a:lnTo>
                  <a:pt x="3554" y="2667"/>
                </a:lnTo>
                <a:lnTo>
                  <a:pt x="3558" y="2677"/>
                </a:lnTo>
                <a:lnTo>
                  <a:pt x="3554" y="2679"/>
                </a:lnTo>
                <a:lnTo>
                  <a:pt x="3544" y="2698"/>
                </a:lnTo>
                <a:lnTo>
                  <a:pt x="3530" y="2712"/>
                </a:lnTo>
                <a:lnTo>
                  <a:pt x="3527" y="2717"/>
                </a:lnTo>
                <a:lnTo>
                  <a:pt x="3530" y="2731"/>
                </a:lnTo>
                <a:lnTo>
                  <a:pt x="3537" y="2743"/>
                </a:lnTo>
                <a:lnTo>
                  <a:pt x="3549" y="2750"/>
                </a:lnTo>
                <a:lnTo>
                  <a:pt x="3556" y="2757"/>
                </a:lnTo>
                <a:lnTo>
                  <a:pt x="3546" y="2765"/>
                </a:lnTo>
                <a:lnTo>
                  <a:pt x="3544" y="2767"/>
                </a:lnTo>
                <a:lnTo>
                  <a:pt x="3544" y="2781"/>
                </a:lnTo>
                <a:lnTo>
                  <a:pt x="3542" y="2783"/>
                </a:lnTo>
                <a:lnTo>
                  <a:pt x="3544" y="2786"/>
                </a:lnTo>
                <a:lnTo>
                  <a:pt x="3544" y="2791"/>
                </a:lnTo>
                <a:lnTo>
                  <a:pt x="3546" y="2791"/>
                </a:lnTo>
                <a:lnTo>
                  <a:pt x="3554" y="2798"/>
                </a:lnTo>
                <a:lnTo>
                  <a:pt x="3556" y="2802"/>
                </a:lnTo>
                <a:lnTo>
                  <a:pt x="3561" y="2812"/>
                </a:lnTo>
                <a:lnTo>
                  <a:pt x="3563" y="2814"/>
                </a:lnTo>
                <a:lnTo>
                  <a:pt x="3565" y="2817"/>
                </a:lnTo>
                <a:lnTo>
                  <a:pt x="3572" y="2821"/>
                </a:lnTo>
                <a:lnTo>
                  <a:pt x="3575" y="2824"/>
                </a:lnTo>
                <a:lnTo>
                  <a:pt x="3577" y="2828"/>
                </a:lnTo>
                <a:lnTo>
                  <a:pt x="3577" y="2831"/>
                </a:lnTo>
                <a:lnTo>
                  <a:pt x="3580" y="2836"/>
                </a:lnTo>
                <a:lnTo>
                  <a:pt x="3582" y="2838"/>
                </a:lnTo>
                <a:lnTo>
                  <a:pt x="3587" y="2840"/>
                </a:lnTo>
                <a:lnTo>
                  <a:pt x="3591" y="2838"/>
                </a:lnTo>
                <a:lnTo>
                  <a:pt x="3594" y="2838"/>
                </a:lnTo>
                <a:lnTo>
                  <a:pt x="3598" y="2836"/>
                </a:lnTo>
                <a:lnTo>
                  <a:pt x="3603" y="2838"/>
                </a:lnTo>
                <a:lnTo>
                  <a:pt x="3622" y="2845"/>
                </a:lnTo>
                <a:lnTo>
                  <a:pt x="3634" y="2850"/>
                </a:lnTo>
                <a:lnTo>
                  <a:pt x="3667" y="2866"/>
                </a:lnTo>
                <a:lnTo>
                  <a:pt x="3674" y="2869"/>
                </a:lnTo>
                <a:lnTo>
                  <a:pt x="3681" y="2869"/>
                </a:lnTo>
                <a:lnTo>
                  <a:pt x="3686" y="2869"/>
                </a:lnTo>
                <a:lnTo>
                  <a:pt x="3688" y="2873"/>
                </a:lnTo>
                <a:lnTo>
                  <a:pt x="3691" y="2876"/>
                </a:lnTo>
                <a:lnTo>
                  <a:pt x="3693" y="2878"/>
                </a:lnTo>
                <a:lnTo>
                  <a:pt x="3695" y="2878"/>
                </a:lnTo>
                <a:lnTo>
                  <a:pt x="3707" y="2878"/>
                </a:lnTo>
                <a:lnTo>
                  <a:pt x="3759" y="2857"/>
                </a:lnTo>
                <a:lnTo>
                  <a:pt x="3769" y="2857"/>
                </a:lnTo>
                <a:lnTo>
                  <a:pt x="3781" y="2847"/>
                </a:lnTo>
                <a:lnTo>
                  <a:pt x="3790" y="2847"/>
                </a:lnTo>
                <a:lnTo>
                  <a:pt x="3788" y="2862"/>
                </a:lnTo>
                <a:lnTo>
                  <a:pt x="3792" y="2869"/>
                </a:lnTo>
                <a:lnTo>
                  <a:pt x="3800" y="2876"/>
                </a:lnTo>
                <a:lnTo>
                  <a:pt x="3804" y="2885"/>
                </a:lnTo>
                <a:lnTo>
                  <a:pt x="3804" y="2892"/>
                </a:lnTo>
                <a:lnTo>
                  <a:pt x="3802" y="2897"/>
                </a:lnTo>
                <a:lnTo>
                  <a:pt x="3797" y="2902"/>
                </a:lnTo>
                <a:lnTo>
                  <a:pt x="3795" y="2907"/>
                </a:lnTo>
                <a:lnTo>
                  <a:pt x="3792" y="2911"/>
                </a:lnTo>
                <a:lnTo>
                  <a:pt x="3792" y="2921"/>
                </a:lnTo>
                <a:lnTo>
                  <a:pt x="3790" y="2925"/>
                </a:lnTo>
                <a:lnTo>
                  <a:pt x="3783" y="2935"/>
                </a:lnTo>
                <a:lnTo>
                  <a:pt x="3769" y="2949"/>
                </a:lnTo>
                <a:lnTo>
                  <a:pt x="3764" y="2959"/>
                </a:lnTo>
                <a:lnTo>
                  <a:pt x="3752" y="2975"/>
                </a:lnTo>
                <a:lnTo>
                  <a:pt x="3748" y="2985"/>
                </a:lnTo>
                <a:lnTo>
                  <a:pt x="3750" y="2996"/>
                </a:lnTo>
                <a:lnTo>
                  <a:pt x="3759" y="3015"/>
                </a:lnTo>
                <a:lnTo>
                  <a:pt x="3755" y="3018"/>
                </a:lnTo>
                <a:lnTo>
                  <a:pt x="3752" y="3018"/>
                </a:lnTo>
                <a:lnTo>
                  <a:pt x="3752" y="3018"/>
                </a:lnTo>
                <a:lnTo>
                  <a:pt x="3750" y="3020"/>
                </a:lnTo>
                <a:lnTo>
                  <a:pt x="3750" y="3020"/>
                </a:lnTo>
                <a:lnTo>
                  <a:pt x="3752" y="3027"/>
                </a:lnTo>
                <a:lnTo>
                  <a:pt x="3752" y="3027"/>
                </a:lnTo>
                <a:lnTo>
                  <a:pt x="3750" y="3030"/>
                </a:lnTo>
                <a:lnTo>
                  <a:pt x="3748" y="3030"/>
                </a:lnTo>
                <a:lnTo>
                  <a:pt x="3745" y="3030"/>
                </a:lnTo>
                <a:lnTo>
                  <a:pt x="3743" y="3030"/>
                </a:lnTo>
                <a:lnTo>
                  <a:pt x="3738" y="3030"/>
                </a:lnTo>
                <a:lnTo>
                  <a:pt x="3738" y="3034"/>
                </a:lnTo>
                <a:lnTo>
                  <a:pt x="3731" y="3030"/>
                </a:lnTo>
                <a:lnTo>
                  <a:pt x="3724" y="3034"/>
                </a:lnTo>
                <a:lnTo>
                  <a:pt x="3722" y="3039"/>
                </a:lnTo>
                <a:lnTo>
                  <a:pt x="3719" y="3044"/>
                </a:lnTo>
                <a:lnTo>
                  <a:pt x="3714" y="3046"/>
                </a:lnTo>
                <a:lnTo>
                  <a:pt x="3712" y="3051"/>
                </a:lnTo>
                <a:lnTo>
                  <a:pt x="3712" y="3056"/>
                </a:lnTo>
                <a:lnTo>
                  <a:pt x="3712" y="3060"/>
                </a:lnTo>
                <a:lnTo>
                  <a:pt x="3705" y="3060"/>
                </a:lnTo>
                <a:lnTo>
                  <a:pt x="3707" y="3060"/>
                </a:lnTo>
                <a:lnTo>
                  <a:pt x="3707" y="3056"/>
                </a:lnTo>
                <a:lnTo>
                  <a:pt x="3693" y="3058"/>
                </a:lnTo>
                <a:lnTo>
                  <a:pt x="3691" y="3058"/>
                </a:lnTo>
                <a:lnTo>
                  <a:pt x="3686" y="3058"/>
                </a:lnTo>
                <a:lnTo>
                  <a:pt x="3681" y="3060"/>
                </a:lnTo>
                <a:lnTo>
                  <a:pt x="3677" y="3070"/>
                </a:lnTo>
                <a:lnTo>
                  <a:pt x="3674" y="3072"/>
                </a:lnTo>
                <a:lnTo>
                  <a:pt x="3672" y="3075"/>
                </a:lnTo>
                <a:lnTo>
                  <a:pt x="3669" y="3077"/>
                </a:lnTo>
                <a:lnTo>
                  <a:pt x="3665" y="3077"/>
                </a:lnTo>
                <a:lnTo>
                  <a:pt x="3660" y="3079"/>
                </a:lnTo>
                <a:lnTo>
                  <a:pt x="3655" y="3084"/>
                </a:lnTo>
                <a:lnTo>
                  <a:pt x="3655" y="3089"/>
                </a:lnTo>
                <a:lnTo>
                  <a:pt x="3653" y="3091"/>
                </a:lnTo>
                <a:lnTo>
                  <a:pt x="3651" y="3094"/>
                </a:lnTo>
                <a:lnTo>
                  <a:pt x="3653" y="3112"/>
                </a:lnTo>
                <a:lnTo>
                  <a:pt x="3653" y="3117"/>
                </a:lnTo>
                <a:lnTo>
                  <a:pt x="3653" y="3120"/>
                </a:lnTo>
                <a:lnTo>
                  <a:pt x="3653" y="3120"/>
                </a:lnTo>
                <a:lnTo>
                  <a:pt x="3653" y="3122"/>
                </a:lnTo>
                <a:lnTo>
                  <a:pt x="3648" y="3124"/>
                </a:lnTo>
                <a:lnTo>
                  <a:pt x="3648" y="3122"/>
                </a:lnTo>
                <a:lnTo>
                  <a:pt x="3648" y="3120"/>
                </a:lnTo>
                <a:lnTo>
                  <a:pt x="3646" y="3117"/>
                </a:lnTo>
                <a:lnTo>
                  <a:pt x="3639" y="3120"/>
                </a:lnTo>
                <a:lnTo>
                  <a:pt x="3632" y="3124"/>
                </a:lnTo>
                <a:lnTo>
                  <a:pt x="3622" y="3129"/>
                </a:lnTo>
                <a:lnTo>
                  <a:pt x="3615" y="3127"/>
                </a:lnTo>
                <a:lnTo>
                  <a:pt x="3610" y="3129"/>
                </a:lnTo>
                <a:lnTo>
                  <a:pt x="3606" y="3134"/>
                </a:lnTo>
                <a:lnTo>
                  <a:pt x="3603" y="3138"/>
                </a:lnTo>
                <a:lnTo>
                  <a:pt x="3598" y="3146"/>
                </a:lnTo>
                <a:lnTo>
                  <a:pt x="3598" y="3146"/>
                </a:lnTo>
                <a:lnTo>
                  <a:pt x="3598" y="3153"/>
                </a:lnTo>
                <a:lnTo>
                  <a:pt x="3598" y="3153"/>
                </a:lnTo>
                <a:lnTo>
                  <a:pt x="3598" y="3153"/>
                </a:lnTo>
                <a:lnTo>
                  <a:pt x="3589" y="3174"/>
                </a:lnTo>
                <a:lnTo>
                  <a:pt x="3589" y="3174"/>
                </a:lnTo>
                <a:lnTo>
                  <a:pt x="3587" y="3174"/>
                </a:lnTo>
                <a:lnTo>
                  <a:pt x="3584" y="3174"/>
                </a:lnTo>
                <a:lnTo>
                  <a:pt x="3584" y="3176"/>
                </a:lnTo>
                <a:lnTo>
                  <a:pt x="3584" y="3181"/>
                </a:lnTo>
                <a:lnTo>
                  <a:pt x="3582" y="3183"/>
                </a:lnTo>
                <a:lnTo>
                  <a:pt x="3582" y="3186"/>
                </a:lnTo>
                <a:lnTo>
                  <a:pt x="3580" y="3186"/>
                </a:lnTo>
                <a:lnTo>
                  <a:pt x="3577" y="3183"/>
                </a:lnTo>
                <a:lnTo>
                  <a:pt x="3577" y="3183"/>
                </a:lnTo>
                <a:lnTo>
                  <a:pt x="3575" y="3181"/>
                </a:lnTo>
                <a:lnTo>
                  <a:pt x="3572" y="3183"/>
                </a:lnTo>
                <a:lnTo>
                  <a:pt x="3572" y="3186"/>
                </a:lnTo>
                <a:lnTo>
                  <a:pt x="3572" y="3188"/>
                </a:lnTo>
                <a:lnTo>
                  <a:pt x="3556" y="3191"/>
                </a:lnTo>
                <a:lnTo>
                  <a:pt x="3549" y="3188"/>
                </a:lnTo>
                <a:lnTo>
                  <a:pt x="3542" y="3183"/>
                </a:lnTo>
                <a:lnTo>
                  <a:pt x="3539" y="3188"/>
                </a:lnTo>
                <a:lnTo>
                  <a:pt x="3537" y="3198"/>
                </a:lnTo>
                <a:lnTo>
                  <a:pt x="3535" y="3205"/>
                </a:lnTo>
                <a:lnTo>
                  <a:pt x="3532" y="3219"/>
                </a:lnTo>
                <a:lnTo>
                  <a:pt x="3530" y="3221"/>
                </a:lnTo>
                <a:lnTo>
                  <a:pt x="3525" y="3224"/>
                </a:lnTo>
                <a:lnTo>
                  <a:pt x="3520" y="3228"/>
                </a:lnTo>
                <a:lnTo>
                  <a:pt x="3518" y="3233"/>
                </a:lnTo>
                <a:lnTo>
                  <a:pt x="3518" y="3238"/>
                </a:lnTo>
                <a:lnTo>
                  <a:pt x="3513" y="3243"/>
                </a:lnTo>
                <a:lnTo>
                  <a:pt x="3509" y="3243"/>
                </a:lnTo>
                <a:lnTo>
                  <a:pt x="3499" y="3247"/>
                </a:lnTo>
                <a:lnTo>
                  <a:pt x="3494" y="3252"/>
                </a:lnTo>
                <a:lnTo>
                  <a:pt x="3494" y="3257"/>
                </a:lnTo>
                <a:lnTo>
                  <a:pt x="3497" y="3257"/>
                </a:lnTo>
                <a:lnTo>
                  <a:pt x="3527" y="3252"/>
                </a:lnTo>
                <a:lnTo>
                  <a:pt x="3527" y="3254"/>
                </a:lnTo>
                <a:lnTo>
                  <a:pt x="3525" y="3262"/>
                </a:lnTo>
                <a:lnTo>
                  <a:pt x="3525" y="3264"/>
                </a:lnTo>
                <a:lnTo>
                  <a:pt x="3523" y="3266"/>
                </a:lnTo>
                <a:lnTo>
                  <a:pt x="3523" y="3269"/>
                </a:lnTo>
                <a:lnTo>
                  <a:pt x="3523" y="3271"/>
                </a:lnTo>
                <a:lnTo>
                  <a:pt x="3523" y="3273"/>
                </a:lnTo>
                <a:lnTo>
                  <a:pt x="3525" y="3276"/>
                </a:lnTo>
                <a:lnTo>
                  <a:pt x="3525" y="3278"/>
                </a:lnTo>
                <a:lnTo>
                  <a:pt x="3527" y="3278"/>
                </a:lnTo>
                <a:lnTo>
                  <a:pt x="3525" y="3281"/>
                </a:lnTo>
                <a:lnTo>
                  <a:pt x="3513" y="3292"/>
                </a:lnTo>
                <a:lnTo>
                  <a:pt x="3516" y="3299"/>
                </a:lnTo>
                <a:lnTo>
                  <a:pt x="3511" y="3299"/>
                </a:lnTo>
                <a:lnTo>
                  <a:pt x="3506" y="3302"/>
                </a:lnTo>
                <a:lnTo>
                  <a:pt x="3504" y="3302"/>
                </a:lnTo>
                <a:lnTo>
                  <a:pt x="3501" y="3299"/>
                </a:lnTo>
                <a:lnTo>
                  <a:pt x="3501" y="3297"/>
                </a:lnTo>
                <a:lnTo>
                  <a:pt x="3499" y="3295"/>
                </a:lnTo>
                <a:lnTo>
                  <a:pt x="3494" y="3292"/>
                </a:lnTo>
                <a:lnTo>
                  <a:pt x="3487" y="3292"/>
                </a:lnTo>
                <a:lnTo>
                  <a:pt x="3483" y="3295"/>
                </a:lnTo>
                <a:lnTo>
                  <a:pt x="3478" y="3302"/>
                </a:lnTo>
                <a:lnTo>
                  <a:pt x="3473" y="3304"/>
                </a:lnTo>
                <a:lnTo>
                  <a:pt x="3468" y="3307"/>
                </a:lnTo>
                <a:lnTo>
                  <a:pt x="3461" y="3307"/>
                </a:lnTo>
                <a:lnTo>
                  <a:pt x="3459" y="3307"/>
                </a:lnTo>
                <a:lnTo>
                  <a:pt x="3452" y="3309"/>
                </a:lnTo>
                <a:lnTo>
                  <a:pt x="3447" y="3314"/>
                </a:lnTo>
                <a:lnTo>
                  <a:pt x="3435" y="3314"/>
                </a:lnTo>
                <a:lnTo>
                  <a:pt x="3433" y="3316"/>
                </a:lnTo>
                <a:lnTo>
                  <a:pt x="3430" y="3323"/>
                </a:lnTo>
                <a:lnTo>
                  <a:pt x="3430" y="3325"/>
                </a:lnTo>
                <a:lnTo>
                  <a:pt x="3433" y="3328"/>
                </a:lnTo>
                <a:lnTo>
                  <a:pt x="3430" y="3333"/>
                </a:lnTo>
                <a:lnTo>
                  <a:pt x="3435" y="3337"/>
                </a:lnTo>
                <a:lnTo>
                  <a:pt x="3433" y="3340"/>
                </a:lnTo>
                <a:lnTo>
                  <a:pt x="3421" y="3342"/>
                </a:lnTo>
                <a:lnTo>
                  <a:pt x="3421" y="3340"/>
                </a:lnTo>
                <a:lnTo>
                  <a:pt x="3419" y="3335"/>
                </a:lnTo>
                <a:lnTo>
                  <a:pt x="3419" y="3333"/>
                </a:lnTo>
                <a:lnTo>
                  <a:pt x="3414" y="3330"/>
                </a:lnTo>
                <a:lnTo>
                  <a:pt x="3412" y="3330"/>
                </a:lnTo>
                <a:lnTo>
                  <a:pt x="3407" y="3328"/>
                </a:lnTo>
                <a:lnTo>
                  <a:pt x="3404" y="3328"/>
                </a:lnTo>
                <a:lnTo>
                  <a:pt x="3383" y="3328"/>
                </a:lnTo>
                <a:lnTo>
                  <a:pt x="3378" y="3330"/>
                </a:lnTo>
                <a:lnTo>
                  <a:pt x="3371" y="3335"/>
                </a:lnTo>
                <a:lnTo>
                  <a:pt x="3371" y="3342"/>
                </a:lnTo>
                <a:lnTo>
                  <a:pt x="3371" y="3349"/>
                </a:lnTo>
                <a:lnTo>
                  <a:pt x="3369" y="3356"/>
                </a:lnTo>
                <a:lnTo>
                  <a:pt x="3371" y="3359"/>
                </a:lnTo>
                <a:lnTo>
                  <a:pt x="3374" y="3361"/>
                </a:lnTo>
                <a:lnTo>
                  <a:pt x="3376" y="3359"/>
                </a:lnTo>
                <a:lnTo>
                  <a:pt x="3376" y="3363"/>
                </a:lnTo>
                <a:lnTo>
                  <a:pt x="3371" y="3363"/>
                </a:lnTo>
                <a:lnTo>
                  <a:pt x="3350" y="3366"/>
                </a:lnTo>
                <a:lnTo>
                  <a:pt x="3345" y="3366"/>
                </a:lnTo>
                <a:lnTo>
                  <a:pt x="3345" y="3361"/>
                </a:lnTo>
                <a:lnTo>
                  <a:pt x="3355" y="3361"/>
                </a:lnTo>
                <a:lnTo>
                  <a:pt x="3357" y="3359"/>
                </a:lnTo>
                <a:lnTo>
                  <a:pt x="3359" y="3352"/>
                </a:lnTo>
                <a:lnTo>
                  <a:pt x="3359" y="3349"/>
                </a:lnTo>
                <a:lnTo>
                  <a:pt x="3355" y="3347"/>
                </a:lnTo>
                <a:lnTo>
                  <a:pt x="3333" y="3347"/>
                </a:lnTo>
                <a:lnTo>
                  <a:pt x="3331" y="3344"/>
                </a:lnTo>
                <a:lnTo>
                  <a:pt x="3324" y="3342"/>
                </a:lnTo>
                <a:lnTo>
                  <a:pt x="3315" y="3340"/>
                </a:lnTo>
                <a:lnTo>
                  <a:pt x="3305" y="3342"/>
                </a:lnTo>
                <a:lnTo>
                  <a:pt x="3298" y="3344"/>
                </a:lnTo>
                <a:lnTo>
                  <a:pt x="3300" y="3342"/>
                </a:lnTo>
                <a:lnTo>
                  <a:pt x="3300" y="3337"/>
                </a:lnTo>
                <a:lnTo>
                  <a:pt x="3300" y="3335"/>
                </a:lnTo>
                <a:lnTo>
                  <a:pt x="3296" y="3335"/>
                </a:lnTo>
                <a:lnTo>
                  <a:pt x="3291" y="3337"/>
                </a:lnTo>
                <a:lnTo>
                  <a:pt x="3281" y="3342"/>
                </a:lnTo>
                <a:lnTo>
                  <a:pt x="3286" y="3344"/>
                </a:lnTo>
                <a:lnTo>
                  <a:pt x="3293" y="3352"/>
                </a:lnTo>
                <a:lnTo>
                  <a:pt x="3300" y="3354"/>
                </a:lnTo>
                <a:lnTo>
                  <a:pt x="3300" y="3356"/>
                </a:lnTo>
                <a:lnTo>
                  <a:pt x="3289" y="3356"/>
                </a:lnTo>
                <a:lnTo>
                  <a:pt x="3284" y="3356"/>
                </a:lnTo>
                <a:lnTo>
                  <a:pt x="3284" y="3359"/>
                </a:lnTo>
                <a:lnTo>
                  <a:pt x="3281" y="3366"/>
                </a:lnTo>
                <a:lnTo>
                  <a:pt x="3279" y="3368"/>
                </a:lnTo>
                <a:lnTo>
                  <a:pt x="3272" y="3368"/>
                </a:lnTo>
                <a:lnTo>
                  <a:pt x="3255" y="3361"/>
                </a:lnTo>
                <a:lnTo>
                  <a:pt x="3253" y="3361"/>
                </a:lnTo>
                <a:lnTo>
                  <a:pt x="3251" y="3354"/>
                </a:lnTo>
                <a:lnTo>
                  <a:pt x="3253" y="3349"/>
                </a:lnTo>
                <a:lnTo>
                  <a:pt x="3262" y="3344"/>
                </a:lnTo>
                <a:lnTo>
                  <a:pt x="3260" y="3342"/>
                </a:lnTo>
                <a:lnTo>
                  <a:pt x="3258" y="3342"/>
                </a:lnTo>
                <a:lnTo>
                  <a:pt x="3253" y="3342"/>
                </a:lnTo>
                <a:lnTo>
                  <a:pt x="3251" y="3342"/>
                </a:lnTo>
                <a:lnTo>
                  <a:pt x="3248" y="3335"/>
                </a:lnTo>
                <a:lnTo>
                  <a:pt x="3246" y="3335"/>
                </a:lnTo>
                <a:lnTo>
                  <a:pt x="3239" y="3335"/>
                </a:lnTo>
                <a:lnTo>
                  <a:pt x="3232" y="3333"/>
                </a:lnTo>
                <a:lnTo>
                  <a:pt x="3220" y="3328"/>
                </a:lnTo>
                <a:lnTo>
                  <a:pt x="3222" y="3318"/>
                </a:lnTo>
                <a:lnTo>
                  <a:pt x="3215" y="3316"/>
                </a:lnTo>
                <a:lnTo>
                  <a:pt x="3199" y="3316"/>
                </a:lnTo>
                <a:lnTo>
                  <a:pt x="3199" y="3318"/>
                </a:lnTo>
                <a:lnTo>
                  <a:pt x="3199" y="3321"/>
                </a:lnTo>
                <a:lnTo>
                  <a:pt x="3199" y="3321"/>
                </a:lnTo>
                <a:lnTo>
                  <a:pt x="3196" y="3323"/>
                </a:lnTo>
                <a:lnTo>
                  <a:pt x="3194" y="3323"/>
                </a:lnTo>
                <a:lnTo>
                  <a:pt x="3192" y="3321"/>
                </a:lnTo>
                <a:lnTo>
                  <a:pt x="3189" y="3321"/>
                </a:lnTo>
                <a:lnTo>
                  <a:pt x="3187" y="3318"/>
                </a:lnTo>
                <a:lnTo>
                  <a:pt x="3184" y="3316"/>
                </a:lnTo>
                <a:lnTo>
                  <a:pt x="3175" y="3307"/>
                </a:lnTo>
                <a:lnTo>
                  <a:pt x="3173" y="3307"/>
                </a:lnTo>
                <a:lnTo>
                  <a:pt x="3168" y="3311"/>
                </a:lnTo>
                <a:lnTo>
                  <a:pt x="3163" y="3314"/>
                </a:lnTo>
                <a:lnTo>
                  <a:pt x="3161" y="3314"/>
                </a:lnTo>
                <a:lnTo>
                  <a:pt x="3158" y="3311"/>
                </a:lnTo>
                <a:lnTo>
                  <a:pt x="3154" y="3309"/>
                </a:lnTo>
                <a:lnTo>
                  <a:pt x="3147" y="3309"/>
                </a:lnTo>
                <a:lnTo>
                  <a:pt x="3139" y="3311"/>
                </a:lnTo>
                <a:lnTo>
                  <a:pt x="3135" y="3311"/>
                </a:lnTo>
                <a:lnTo>
                  <a:pt x="3130" y="3311"/>
                </a:lnTo>
                <a:lnTo>
                  <a:pt x="3121" y="3311"/>
                </a:lnTo>
                <a:lnTo>
                  <a:pt x="3116" y="3311"/>
                </a:lnTo>
                <a:lnTo>
                  <a:pt x="3113" y="3307"/>
                </a:lnTo>
                <a:lnTo>
                  <a:pt x="3116" y="3302"/>
                </a:lnTo>
                <a:lnTo>
                  <a:pt x="3116" y="3297"/>
                </a:lnTo>
                <a:lnTo>
                  <a:pt x="3118" y="3290"/>
                </a:lnTo>
                <a:lnTo>
                  <a:pt x="3121" y="3288"/>
                </a:lnTo>
                <a:lnTo>
                  <a:pt x="3121" y="3285"/>
                </a:lnTo>
                <a:lnTo>
                  <a:pt x="3118" y="3285"/>
                </a:lnTo>
                <a:lnTo>
                  <a:pt x="3116" y="3283"/>
                </a:lnTo>
                <a:lnTo>
                  <a:pt x="3113" y="3281"/>
                </a:lnTo>
                <a:lnTo>
                  <a:pt x="3113" y="3278"/>
                </a:lnTo>
                <a:lnTo>
                  <a:pt x="3111" y="3257"/>
                </a:lnTo>
                <a:lnTo>
                  <a:pt x="3102" y="3252"/>
                </a:lnTo>
                <a:lnTo>
                  <a:pt x="3061" y="3264"/>
                </a:lnTo>
                <a:lnTo>
                  <a:pt x="3047" y="3262"/>
                </a:lnTo>
                <a:lnTo>
                  <a:pt x="3045" y="3264"/>
                </a:lnTo>
                <a:lnTo>
                  <a:pt x="3024" y="3266"/>
                </a:lnTo>
                <a:lnTo>
                  <a:pt x="3016" y="3264"/>
                </a:lnTo>
                <a:lnTo>
                  <a:pt x="3007" y="3257"/>
                </a:lnTo>
                <a:lnTo>
                  <a:pt x="3005" y="3247"/>
                </a:lnTo>
                <a:lnTo>
                  <a:pt x="3009" y="3238"/>
                </a:lnTo>
                <a:lnTo>
                  <a:pt x="3019" y="3231"/>
                </a:lnTo>
                <a:lnTo>
                  <a:pt x="3047" y="3231"/>
                </a:lnTo>
                <a:lnTo>
                  <a:pt x="3054" y="3226"/>
                </a:lnTo>
                <a:lnTo>
                  <a:pt x="3059" y="3221"/>
                </a:lnTo>
                <a:lnTo>
                  <a:pt x="3066" y="3214"/>
                </a:lnTo>
                <a:lnTo>
                  <a:pt x="3068" y="3202"/>
                </a:lnTo>
                <a:lnTo>
                  <a:pt x="3068" y="3193"/>
                </a:lnTo>
                <a:lnTo>
                  <a:pt x="3059" y="3200"/>
                </a:lnTo>
                <a:lnTo>
                  <a:pt x="3050" y="3205"/>
                </a:lnTo>
                <a:lnTo>
                  <a:pt x="3042" y="3202"/>
                </a:lnTo>
                <a:lnTo>
                  <a:pt x="3035" y="3195"/>
                </a:lnTo>
                <a:lnTo>
                  <a:pt x="3033" y="3188"/>
                </a:lnTo>
                <a:lnTo>
                  <a:pt x="3033" y="3186"/>
                </a:lnTo>
                <a:lnTo>
                  <a:pt x="3031" y="3183"/>
                </a:lnTo>
                <a:lnTo>
                  <a:pt x="3024" y="3181"/>
                </a:lnTo>
                <a:lnTo>
                  <a:pt x="3021" y="3181"/>
                </a:lnTo>
                <a:lnTo>
                  <a:pt x="3014" y="3183"/>
                </a:lnTo>
                <a:lnTo>
                  <a:pt x="3014" y="3181"/>
                </a:lnTo>
                <a:lnTo>
                  <a:pt x="3009" y="3174"/>
                </a:lnTo>
                <a:lnTo>
                  <a:pt x="3007" y="3174"/>
                </a:lnTo>
                <a:lnTo>
                  <a:pt x="3005" y="3176"/>
                </a:lnTo>
                <a:lnTo>
                  <a:pt x="3002" y="3183"/>
                </a:lnTo>
                <a:lnTo>
                  <a:pt x="3002" y="3188"/>
                </a:lnTo>
                <a:lnTo>
                  <a:pt x="3002" y="3193"/>
                </a:lnTo>
                <a:lnTo>
                  <a:pt x="3002" y="3200"/>
                </a:lnTo>
                <a:lnTo>
                  <a:pt x="3007" y="3202"/>
                </a:lnTo>
                <a:lnTo>
                  <a:pt x="3009" y="3205"/>
                </a:lnTo>
                <a:lnTo>
                  <a:pt x="3014" y="3210"/>
                </a:lnTo>
                <a:lnTo>
                  <a:pt x="3019" y="3219"/>
                </a:lnTo>
                <a:lnTo>
                  <a:pt x="3016" y="3228"/>
                </a:lnTo>
                <a:lnTo>
                  <a:pt x="3009" y="3236"/>
                </a:lnTo>
                <a:lnTo>
                  <a:pt x="3002" y="3233"/>
                </a:lnTo>
                <a:lnTo>
                  <a:pt x="2995" y="3236"/>
                </a:lnTo>
                <a:lnTo>
                  <a:pt x="2979" y="3226"/>
                </a:lnTo>
                <a:lnTo>
                  <a:pt x="2971" y="3231"/>
                </a:lnTo>
                <a:lnTo>
                  <a:pt x="2967" y="3233"/>
                </a:lnTo>
                <a:lnTo>
                  <a:pt x="2960" y="3236"/>
                </a:lnTo>
                <a:lnTo>
                  <a:pt x="2957" y="3238"/>
                </a:lnTo>
                <a:lnTo>
                  <a:pt x="2955" y="3245"/>
                </a:lnTo>
                <a:lnTo>
                  <a:pt x="2957" y="3247"/>
                </a:lnTo>
                <a:lnTo>
                  <a:pt x="2960" y="3250"/>
                </a:lnTo>
                <a:lnTo>
                  <a:pt x="2962" y="3257"/>
                </a:lnTo>
                <a:lnTo>
                  <a:pt x="2950" y="3252"/>
                </a:lnTo>
                <a:lnTo>
                  <a:pt x="2936" y="3247"/>
                </a:lnTo>
                <a:lnTo>
                  <a:pt x="2927" y="3238"/>
                </a:lnTo>
                <a:lnTo>
                  <a:pt x="2919" y="3226"/>
                </a:lnTo>
                <a:lnTo>
                  <a:pt x="2919" y="3200"/>
                </a:lnTo>
                <a:lnTo>
                  <a:pt x="2919" y="3193"/>
                </a:lnTo>
                <a:lnTo>
                  <a:pt x="2917" y="3188"/>
                </a:lnTo>
                <a:lnTo>
                  <a:pt x="2912" y="3181"/>
                </a:lnTo>
                <a:lnTo>
                  <a:pt x="2908" y="3174"/>
                </a:lnTo>
                <a:lnTo>
                  <a:pt x="2903" y="3172"/>
                </a:lnTo>
                <a:lnTo>
                  <a:pt x="2903" y="3174"/>
                </a:lnTo>
                <a:lnTo>
                  <a:pt x="2912" y="3188"/>
                </a:lnTo>
                <a:lnTo>
                  <a:pt x="2915" y="3193"/>
                </a:lnTo>
                <a:lnTo>
                  <a:pt x="2917" y="3224"/>
                </a:lnTo>
                <a:lnTo>
                  <a:pt x="2922" y="3238"/>
                </a:lnTo>
                <a:lnTo>
                  <a:pt x="2931" y="3245"/>
                </a:lnTo>
                <a:lnTo>
                  <a:pt x="2941" y="3252"/>
                </a:lnTo>
                <a:lnTo>
                  <a:pt x="2948" y="3259"/>
                </a:lnTo>
                <a:lnTo>
                  <a:pt x="2936" y="3264"/>
                </a:lnTo>
                <a:lnTo>
                  <a:pt x="2891" y="3266"/>
                </a:lnTo>
                <a:lnTo>
                  <a:pt x="2879" y="3262"/>
                </a:lnTo>
                <a:lnTo>
                  <a:pt x="2870" y="3259"/>
                </a:lnTo>
                <a:lnTo>
                  <a:pt x="2870" y="3254"/>
                </a:lnTo>
                <a:lnTo>
                  <a:pt x="2872" y="3247"/>
                </a:lnTo>
                <a:lnTo>
                  <a:pt x="2874" y="3238"/>
                </a:lnTo>
                <a:lnTo>
                  <a:pt x="2874" y="3231"/>
                </a:lnTo>
                <a:lnTo>
                  <a:pt x="2865" y="3226"/>
                </a:lnTo>
                <a:lnTo>
                  <a:pt x="2851" y="3224"/>
                </a:lnTo>
                <a:lnTo>
                  <a:pt x="2756" y="3226"/>
                </a:lnTo>
                <a:lnTo>
                  <a:pt x="2749" y="3224"/>
                </a:lnTo>
                <a:lnTo>
                  <a:pt x="2742" y="3221"/>
                </a:lnTo>
                <a:lnTo>
                  <a:pt x="2740" y="3219"/>
                </a:lnTo>
                <a:lnTo>
                  <a:pt x="2737" y="3214"/>
                </a:lnTo>
                <a:lnTo>
                  <a:pt x="2730" y="3193"/>
                </a:lnTo>
                <a:lnTo>
                  <a:pt x="2730" y="3191"/>
                </a:lnTo>
                <a:lnTo>
                  <a:pt x="2721" y="3186"/>
                </a:lnTo>
                <a:lnTo>
                  <a:pt x="2704" y="3183"/>
                </a:lnTo>
                <a:lnTo>
                  <a:pt x="2685" y="3188"/>
                </a:lnTo>
                <a:lnTo>
                  <a:pt x="2673" y="3193"/>
                </a:lnTo>
                <a:lnTo>
                  <a:pt x="2678" y="3188"/>
                </a:lnTo>
                <a:lnTo>
                  <a:pt x="2685" y="3183"/>
                </a:lnTo>
                <a:lnTo>
                  <a:pt x="2699" y="3183"/>
                </a:lnTo>
                <a:lnTo>
                  <a:pt x="2706" y="3181"/>
                </a:lnTo>
                <a:lnTo>
                  <a:pt x="2711" y="3179"/>
                </a:lnTo>
                <a:lnTo>
                  <a:pt x="2716" y="3174"/>
                </a:lnTo>
                <a:lnTo>
                  <a:pt x="2718" y="3167"/>
                </a:lnTo>
                <a:lnTo>
                  <a:pt x="2702" y="3169"/>
                </a:lnTo>
                <a:lnTo>
                  <a:pt x="2692" y="3174"/>
                </a:lnTo>
                <a:lnTo>
                  <a:pt x="2678" y="3183"/>
                </a:lnTo>
                <a:lnTo>
                  <a:pt x="2659" y="3191"/>
                </a:lnTo>
                <a:lnTo>
                  <a:pt x="2652" y="3198"/>
                </a:lnTo>
                <a:lnTo>
                  <a:pt x="2631" y="3214"/>
                </a:lnTo>
                <a:lnTo>
                  <a:pt x="2631" y="3219"/>
                </a:lnTo>
                <a:lnTo>
                  <a:pt x="2628" y="3226"/>
                </a:lnTo>
                <a:lnTo>
                  <a:pt x="2626" y="3231"/>
                </a:lnTo>
                <a:lnTo>
                  <a:pt x="2600" y="3243"/>
                </a:lnTo>
                <a:lnTo>
                  <a:pt x="2600" y="3245"/>
                </a:lnTo>
                <a:lnTo>
                  <a:pt x="2609" y="3245"/>
                </a:lnTo>
                <a:lnTo>
                  <a:pt x="2621" y="3238"/>
                </a:lnTo>
                <a:lnTo>
                  <a:pt x="2635" y="3224"/>
                </a:lnTo>
                <a:lnTo>
                  <a:pt x="2652" y="3205"/>
                </a:lnTo>
                <a:lnTo>
                  <a:pt x="2659" y="3198"/>
                </a:lnTo>
                <a:lnTo>
                  <a:pt x="2671" y="3193"/>
                </a:lnTo>
                <a:lnTo>
                  <a:pt x="2671" y="3195"/>
                </a:lnTo>
                <a:lnTo>
                  <a:pt x="2612" y="3250"/>
                </a:lnTo>
                <a:lnTo>
                  <a:pt x="2576" y="3271"/>
                </a:lnTo>
                <a:lnTo>
                  <a:pt x="2567" y="3281"/>
                </a:lnTo>
                <a:lnTo>
                  <a:pt x="2543" y="3311"/>
                </a:lnTo>
                <a:lnTo>
                  <a:pt x="2536" y="3316"/>
                </a:lnTo>
                <a:lnTo>
                  <a:pt x="2524" y="3309"/>
                </a:lnTo>
                <a:lnTo>
                  <a:pt x="2517" y="3311"/>
                </a:lnTo>
                <a:lnTo>
                  <a:pt x="2505" y="3318"/>
                </a:lnTo>
                <a:lnTo>
                  <a:pt x="2465" y="3352"/>
                </a:lnTo>
                <a:lnTo>
                  <a:pt x="2460" y="3359"/>
                </a:lnTo>
                <a:lnTo>
                  <a:pt x="2458" y="3363"/>
                </a:lnTo>
                <a:lnTo>
                  <a:pt x="2456" y="3370"/>
                </a:lnTo>
                <a:lnTo>
                  <a:pt x="2453" y="3375"/>
                </a:lnTo>
                <a:lnTo>
                  <a:pt x="2446" y="3382"/>
                </a:lnTo>
                <a:lnTo>
                  <a:pt x="2441" y="3387"/>
                </a:lnTo>
                <a:lnTo>
                  <a:pt x="2439" y="3392"/>
                </a:lnTo>
                <a:lnTo>
                  <a:pt x="2432" y="3406"/>
                </a:lnTo>
                <a:lnTo>
                  <a:pt x="2430" y="3406"/>
                </a:lnTo>
                <a:lnTo>
                  <a:pt x="2427" y="3404"/>
                </a:lnTo>
                <a:lnTo>
                  <a:pt x="2425" y="3401"/>
                </a:lnTo>
                <a:lnTo>
                  <a:pt x="2420" y="3399"/>
                </a:lnTo>
                <a:lnTo>
                  <a:pt x="2420" y="3396"/>
                </a:lnTo>
                <a:lnTo>
                  <a:pt x="2427" y="3392"/>
                </a:lnTo>
                <a:lnTo>
                  <a:pt x="2430" y="3389"/>
                </a:lnTo>
                <a:lnTo>
                  <a:pt x="2427" y="3387"/>
                </a:lnTo>
                <a:lnTo>
                  <a:pt x="2420" y="3387"/>
                </a:lnTo>
                <a:lnTo>
                  <a:pt x="2415" y="3389"/>
                </a:lnTo>
                <a:lnTo>
                  <a:pt x="2415" y="3392"/>
                </a:lnTo>
                <a:lnTo>
                  <a:pt x="2418" y="3404"/>
                </a:lnTo>
                <a:lnTo>
                  <a:pt x="2423" y="3411"/>
                </a:lnTo>
                <a:lnTo>
                  <a:pt x="2427" y="3413"/>
                </a:lnTo>
                <a:lnTo>
                  <a:pt x="2430" y="3418"/>
                </a:lnTo>
                <a:lnTo>
                  <a:pt x="2430" y="3423"/>
                </a:lnTo>
                <a:lnTo>
                  <a:pt x="2423" y="3430"/>
                </a:lnTo>
                <a:lnTo>
                  <a:pt x="2423" y="3434"/>
                </a:lnTo>
                <a:lnTo>
                  <a:pt x="2423" y="3444"/>
                </a:lnTo>
                <a:lnTo>
                  <a:pt x="2420" y="3451"/>
                </a:lnTo>
                <a:lnTo>
                  <a:pt x="2420" y="3453"/>
                </a:lnTo>
                <a:lnTo>
                  <a:pt x="2418" y="3456"/>
                </a:lnTo>
                <a:lnTo>
                  <a:pt x="2415" y="3460"/>
                </a:lnTo>
                <a:lnTo>
                  <a:pt x="2415" y="3463"/>
                </a:lnTo>
                <a:lnTo>
                  <a:pt x="2411" y="3463"/>
                </a:lnTo>
                <a:lnTo>
                  <a:pt x="2408" y="3458"/>
                </a:lnTo>
                <a:lnTo>
                  <a:pt x="2411" y="3456"/>
                </a:lnTo>
                <a:lnTo>
                  <a:pt x="2415" y="3446"/>
                </a:lnTo>
                <a:lnTo>
                  <a:pt x="2408" y="3449"/>
                </a:lnTo>
                <a:lnTo>
                  <a:pt x="2406" y="3453"/>
                </a:lnTo>
                <a:lnTo>
                  <a:pt x="2406" y="3460"/>
                </a:lnTo>
                <a:lnTo>
                  <a:pt x="2411" y="3465"/>
                </a:lnTo>
                <a:lnTo>
                  <a:pt x="2418" y="3472"/>
                </a:lnTo>
                <a:lnTo>
                  <a:pt x="2420" y="3477"/>
                </a:lnTo>
                <a:lnTo>
                  <a:pt x="2415" y="3482"/>
                </a:lnTo>
                <a:lnTo>
                  <a:pt x="2413" y="3482"/>
                </a:lnTo>
                <a:lnTo>
                  <a:pt x="2408" y="3479"/>
                </a:lnTo>
                <a:lnTo>
                  <a:pt x="2406" y="3479"/>
                </a:lnTo>
                <a:lnTo>
                  <a:pt x="2406" y="3482"/>
                </a:lnTo>
                <a:lnTo>
                  <a:pt x="2406" y="3491"/>
                </a:lnTo>
                <a:lnTo>
                  <a:pt x="2404" y="3494"/>
                </a:lnTo>
                <a:lnTo>
                  <a:pt x="2401" y="3496"/>
                </a:lnTo>
                <a:lnTo>
                  <a:pt x="2389" y="3510"/>
                </a:lnTo>
                <a:lnTo>
                  <a:pt x="2392" y="3512"/>
                </a:lnTo>
                <a:lnTo>
                  <a:pt x="2394" y="3517"/>
                </a:lnTo>
                <a:lnTo>
                  <a:pt x="2397" y="3522"/>
                </a:lnTo>
                <a:lnTo>
                  <a:pt x="2399" y="3522"/>
                </a:lnTo>
                <a:lnTo>
                  <a:pt x="2404" y="3522"/>
                </a:lnTo>
                <a:lnTo>
                  <a:pt x="2413" y="3524"/>
                </a:lnTo>
                <a:lnTo>
                  <a:pt x="2415" y="3527"/>
                </a:lnTo>
                <a:lnTo>
                  <a:pt x="2418" y="3529"/>
                </a:lnTo>
                <a:lnTo>
                  <a:pt x="2420" y="3538"/>
                </a:lnTo>
                <a:lnTo>
                  <a:pt x="2420" y="3546"/>
                </a:lnTo>
                <a:lnTo>
                  <a:pt x="2420" y="3553"/>
                </a:lnTo>
                <a:lnTo>
                  <a:pt x="2418" y="3574"/>
                </a:lnTo>
                <a:lnTo>
                  <a:pt x="2418" y="3576"/>
                </a:lnTo>
                <a:lnTo>
                  <a:pt x="2415" y="3576"/>
                </a:lnTo>
                <a:lnTo>
                  <a:pt x="2411" y="3569"/>
                </a:lnTo>
                <a:lnTo>
                  <a:pt x="2408" y="3574"/>
                </a:lnTo>
                <a:lnTo>
                  <a:pt x="2408" y="3579"/>
                </a:lnTo>
                <a:lnTo>
                  <a:pt x="2408" y="3581"/>
                </a:lnTo>
                <a:lnTo>
                  <a:pt x="2411" y="3586"/>
                </a:lnTo>
                <a:lnTo>
                  <a:pt x="2413" y="3586"/>
                </a:lnTo>
                <a:lnTo>
                  <a:pt x="2418" y="3586"/>
                </a:lnTo>
                <a:lnTo>
                  <a:pt x="2418" y="3586"/>
                </a:lnTo>
                <a:lnTo>
                  <a:pt x="2420" y="3588"/>
                </a:lnTo>
                <a:lnTo>
                  <a:pt x="2420" y="3593"/>
                </a:lnTo>
                <a:lnTo>
                  <a:pt x="2425" y="3626"/>
                </a:lnTo>
                <a:lnTo>
                  <a:pt x="2427" y="3633"/>
                </a:lnTo>
                <a:lnTo>
                  <a:pt x="2451" y="3654"/>
                </a:lnTo>
                <a:lnTo>
                  <a:pt x="2460" y="3669"/>
                </a:lnTo>
                <a:lnTo>
                  <a:pt x="2463" y="3681"/>
                </a:lnTo>
                <a:lnTo>
                  <a:pt x="2460" y="3683"/>
                </a:lnTo>
                <a:lnTo>
                  <a:pt x="2439" y="3688"/>
                </a:lnTo>
                <a:lnTo>
                  <a:pt x="2432" y="3688"/>
                </a:lnTo>
                <a:lnTo>
                  <a:pt x="2425" y="3688"/>
                </a:lnTo>
                <a:lnTo>
                  <a:pt x="2418" y="3685"/>
                </a:lnTo>
                <a:lnTo>
                  <a:pt x="2413" y="3683"/>
                </a:lnTo>
                <a:lnTo>
                  <a:pt x="2411" y="3681"/>
                </a:lnTo>
                <a:lnTo>
                  <a:pt x="2408" y="3676"/>
                </a:lnTo>
                <a:lnTo>
                  <a:pt x="2406" y="3671"/>
                </a:lnTo>
                <a:lnTo>
                  <a:pt x="2404" y="3671"/>
                </a:lnTo>
                <a:lnTo>
                  <a:pt x="2394" y="3671"/>
                </a:lnTo>
                <a:lnTo>
                  <a:pt x="2392" y="3671"/>
                </a:lnTo>
                <a:lnTo>
                  <a:pt x="2385" y="3673"/>
                </a:lnTo>
                <a:lnTo>
                  <a:pt x="2375" y="3671"/>
                </a:lnTo>
                <a:lnTo>
                  <a:pt x="2366" y="3678"/>
                </a:lnTo>
                <a:lnTo>
                  <a:pt x="2361" y="3681"/>
                </a:lnTo>
                <a:lnTo>
                  <a:pt x="2354" y="3681"/>
                </a:lnTo>
                <a:lnTo>
                  <a:pt x="2349" y="3681"/>
                </a:lnTo>
                <a:lnTo>
                  <a:pt x="2344" y="3683"/>
                </a:lnTo>
                <a:lnTo>
                  <a:pt x="2335" y="3692"/>
                </a:lnTo>
                <a:lnTo>
                  <a:pt x="2330" y="3697"/>
                </a:lnTo>
                <a:lnTo>
                  <a:pt x="2323" y="3697"/>
                </a:lnTo>
                <a:lnTo>
                  <a:pt x="2311" y="3697"/>
                </a:lnTo>
                <a:lnTo>
                  <a:pt x="2304" y="3697"/>
                </a:lnTo>
                <a:lnTo>
                  <a:pt x="2300" y="3699"/>
                </a:lnTo>
                <a:lnTo>
                  <a:pt x="2285" y="3711"/>
                </a:lnTo>
                <a:lnTo>
                  <a:pt x="2283" y="3716"/>
                </a:lnTo>
                <a:lnTo>
                  <a:pt x="2288" y="3723"/>
                </a:lnTo>
                <a:lnTo>
                  <a:pt x="2292" y="3728"/>
                </a:lnTo>
                <a:lnTo>
                  <a:pt x="2292" y="3730"/>
                </a:lnTo>
                <a:lnTo>
                  <a:pt x="2283" y="3730"/>
                </a:lnTo>
                <a:lnTo>
                  <a:pt x="2276" y="3728"/>
                </a:lnTo>
                <a:lnTo>
                  <a:pt x="2262" y="3725"/>
                </a:lnTo>
                <a:lnTo>
                  <a:pt x="2255" y="3725"/>
                </a:lnTo>
                <a:lnTo>
                  <a:pt x="2252" y="3728"/>
                </a:lnTo>
                <a:lnTo>
                  <a:pt x="2250" y="3735"/>
                </a:lnTo>
                <a:lnTo>
                  <a:pt x="2247" y="3737"/>
                </a:lnTo>
                <a:lnTo>
                  <a:pt x="2245" y="3737"/>
                </a:lnTo>
                <a:lnTo>
                  <a:pt x="2243" y="3735"/>
                </a:lnTo>
                <a:lnTo>
                  <a:pt x="2236" y="3733"/>
                </a:lnTo>
                <a:lnTo>
                  <a:pt x="2229" y="3730"/>
                </a:lnTo>
                <a:lnTo>
                  <a:pt x="2224" y="3725"/>
                </a:lnTo>
                <a:lnTo>
                  <a:pt x="2217" y="3718"/>
                </a:lnTo>
                <a:lnTo>
                  <a:pt x="2214" y="3714"/>
                </a:lnTo>
                <a:lnTo>
                  <a:pt x="2210" y="3714"/>
                </a:lnTo>
                <a:lnTo>
                  <a:pt x="2200" y="3711"/>
                </a:lnTo>
                <a:lnTo>
                  <a:pt x="2181" y="3702"/>
                </a:lnTo>
                <a:lnTo>
                  <a:pt x="2179" y="3699"/>
                </a:lnTo>
                <a:lnTo>
                  <a:pt x="2169" y="3695"/>
                </a:lnTo>
                <a:lnTo>
                  <a:pt x="2160" y="3697"/>
                </a:lnTo>
                <a:lnTo>
                  <a:pt x="2141" y="3702"/>
                </a:lnTo>
                <a:lnTo>
                  <a:pt x="2124" y="3702"/>
                </a:lnTo>
                <a:lnTo>
                  <a:pt x="2120" y="3704"/>
                </a:lnTo>
                <a:lnTo>
                  <a:pt x="2117" y="3707"/>
                </a:lnTo>
                <a:lnTo>
                  <a:pt x="2117" y="3714"/>
                </a:lnTo>
                <a:lnTo>
                  <a:pt x="2115" y="3716"/>
                </a:lnTo>
                <a:lnTo>
                  <a:pt x="2108" y="3721"/>
                </a:lnTo>
                <a:lnTo>
                  <a:pt x="2103" y="3728"/>
                </a:lnTo>
                <a:lnTo>
                  <a:pt x="2098" y="3730"/>
                </a:lnTo>
                <a:lnTo>
                  <a:pt x="2094" y="3730"/>
                </a:lnTo>
                <a:lnTo>
                  <a:pt x="2084" y="3733"/>
                </a:lnTo>
                <a:lnTo>
                  <a:pt x="2082" y="3730"/>
                </a:lnTo>
                <a:lnTo>
                  <a:pt x="2077" y="3728"/>
                </a:lnTo>
                <a:lnTo>
                  <a:pt x="2070" y="3723"/>
                </a:lnTo>
                <a:lnTo>
                  <a:pt x="2068" y="3716"/>
                </a:lnTo>
                <a:lnTo>
                  <a:pt x="2063" y="3702"/>
                </a:lnTo>
                <a:lnTo>
                  <a:pt x="2058" y="3695"/>
                </a:lnTo>
                <a:lnTo>
                  <a:pt x="2053" y="3692"/>
                </a:lnTo>
                <a:lnTo>
                  <a:pt x="2049" y="3692"/>
                </a:lnTo>
                <a:lnTo>
                  <a:pt x="2039" y="3690"/>
                </a:lnTo>
                <a:lnTo>
                  <a:pt x="2023" y="3678"/>
                </a:lnTo>
                <a:lnTo>
                  <a:pt x="2016" y="3676"/>
                </a:lnTo>
                <a:lnTo>
                  <a:pt x="1997" y="3673"/>
                </a:lnTo>
                <a:lnTo>
                  <a:pt x="1990" y="3671"/>
                </a:lnTo>
                <a:lnTo>
                  <a:pt x="1990" y="3671"/>
                </a:lnTo>
                <a:lnTo>
                  <a:pt x="1990" y="3669"/>
                </a:lnTo>
                <a:lnTo>
                  <a:pt x="1990" y="3669"/>
                </a:lnTo>
                <a:lnTo>
                  <a:pt x="1990" y="3669"/>
                </a:lnTo>
                <a:lnTo>
                  <a:pt x="1990" y="3657"/>
                </a:lnTo>
                <a:lnTo>
                  <a:pt x="1992" y="3647"/>
                </a:lnTo>
                <a:lnTo>
                  <a:pt x="1999" y="3643"/>
                </a:lnTo>
                <a:lnTo>
                  <a:pt x="2006" y="3640"/>
                </a:lnTo>
                <a:lnTo>
                  <a:pt x="2001" y="3636"/>
                </a:lnTo>
                <a:lnTo>
                  <a:pt x="1994" y="3633"/>
                </a:lnTo>
                <a:lnTo>
                  <a:pt x="1990" y="3631"/>
                </a:lnTo>
                <a:lnTo>
                  <a:pt x="1992" y="3621"/>
                </a:lnTo>
                <a:lnTo>
                  <a:pt x="1956" y="3619"/>
                </a:lnTo>
                <a:lnTo>
                  <a:pt x="1954" y="3617"/>
                </a:lnTo>
                <a:lnTo>
                  <a:pt x="1935" y="3607"/>
                </a:lnTo>
                <a:lnTo>
                  <a:pt x="1930" y="3607"/>
                </a:lnTo>
                <a:lnTo>
                  <a:pt x="1921" y="3610"/>
                </a:lnTo>
                <a:lnTo>
                  <a:pt x="1911" y="3610"/>
                </a:lnTo>
                <a:lnTo>
                  <a:pt x="1907" y="3626"/>
                </a:lnTo>
                <a:lnTo>
                  <a:pt x="1900" y="3631"/>
                </a:lnTo>
                <a:lnTo>
                  <a:pt x="1895" y="3624"/>
                </a:lnTo>
                <a:lnTo>
                  <a:pt x="1890" y="3610"/>
                </a:lnTo>
                <a:lnTo>
                  <a:pt x="1883" y="3600"/>
                </a:lnTo>
                <a:lnTo>
                  <a:pt x="1878" y="3591"/>
                </a:lnTo>
                <a:lnTo>
                  <a:pt x="1876" y="3591"/>
                </a:lnTo>
                <a:lnTo>
                  <a:pt x="1874" y="3591"/>
                </a:lnTo>
                <a:lnTo>
                  <a:pt x="1871" y="3588"/>
                </a:lnTo>
                <a:lnTo>
                  <a:pt x="1874" y="3581"/>
                </a:lnTo>
                <a:lnTo>
                  <a:pt x="1864" y="3581"/>
                </a:lnTo>
                <a:lnTo>
                  <a:pt x="1826" y="3581"/>
                </a:lnTo>
                <a:lnTo>
                  <a:pt x="1817" y="3583"/>
                </a:lnTo>
                <a:lnTo>
                  <a:pt x="1812" y="3583"/>
                </a:lnTo>
                <a:lnTo>
                  <a:pt x="1807" y="3579"/>
                </a:lnTo>
                <a:lnTo>
                  <a:pt x="1803" y="3574"/>
                </a:lnTo>
                <a:lnTo>
                  <a:pt x="1800" y="3567"/>
                </a:lnTo>
                <a:lnTo>
                  <a:pt x="1798" y="3562"/>
                </a:lnTo>
                <a:lnTo>
                  <a:pt x="1793" y="3557"/>
                </a:lnTo>
                <a:lnTo>
                  <a:pt x="1786" y="3555"/>
                </a:lnTo>
                <a:lnTo>
                  <a:pt x="1760" y="3553"/>
                </a:lnTo>
                <a:lnTo>
                  <a:pt x="1758" y="3550"/>
                </a:lnTo>
                <a:lnTo>
                  <a:pt x="1751" y="3548"/>
                </a:lnTo>
                <a:lnTo>
                  <a:pt x="1748" y="3546"/>
                </a:lnTo>
                <a:lnTo>
                  <a:pt x="1746" y="3548"/>
                </a:lnTo>
                <a:lnTo>
                  <a:pt x="1743" y="3550"/>
                </a:lnTo>
                <a:lnTo>
                  <a:pt x="1739" y="3550"/>
                </a:lnTo>
                <a:lnTo>
                  <a:pt x="1736" y="3550"/>
                </a:lnTo>
                <a:lnTo>
                  <a:pt x="1732" y="3546"/>
                </a:lnTo>
                <a:lnTo>
                  <a:pt x="1729" y="3543"/>
                </a:lnTo>
                <a:lnTo>
                  <a:pt x="1720" y="3538"/>
                </a:lnTo>
                <a:lnTo>
                  <a:pt x="1706" y="3531"/>
                </a:lnTo>
                <a:lnTo>
                  <a:pt x="1701" y="3531"/>
                </a:lnTo>
                <a:lnTo>
                  <a:pt x="1694" y="3531"/>
                </a:lnTo>
                <a:lnTo>
                  <a:pt x="1689" y="3529"/>
                </a:lnTo>
                <a:lnTo>
                  <a:pt x="1677" y="3527"/>
                </a:lnTo>
                <a:lnTo>
                  <a:pt x="1673" y="3524"/>
                </a:lnTo>
                <a:lnTo>
                  <a:pt x="1663" y="3527"/>
                </a:lnTo>
                <a:lnTo>
                  <a:pt x="1656" y="3529"/>
                </a:lnTo>
                <a:lnTo>
                  <a:pt x="1656" y="3536"/>
                </a:lnTo>
                <a:lnTo>
                  <a:pt x="1656" y="3543"/>
                </a:lnTo>
                <a:lnTo>
                  <a:pt x="1651" y="3557"/>
                </a:lnTo>
                <a:lnTo>
                  <a:pt x="1656" y="3562"/>
                </a:lnTo>
                <a:lnTo>
                  <a:pt x="1654" y="3562"/>
                </a:lnTo>
                <a:lnTo>
                  <a:pt x="1651" y="3565"/>
                </a:lnTo>
                <a:lnTo>
                  <a:pt x="1649" y="3569"/>
                </a:lnTo>
                <a:lnTo>
                  <a:pt x="1654" y="3572"/>
                </a:lnTo>
                <a:lnTo>
                  <a:pt x="1658" y="3576"/>
                </a:lnTo>
                <a:lnTo>
                  <a:pt x="1661" y="3581"/>
                </a:lnTo>
                <a:lnTo>
                  <a:pt x="1661" y="3588"/>
                </a:lnTo>
                <a:lnTo>
                  <a:pt x="1658" y="3593"/>
                </a:lnTo>
                <a:lnTo>
                  <a:pt x="1654" y="3595"/>
                </a:lnTo>
                <a:lnTo>
                  <a:pt x="1642" y="3593"/>
                </a:lnTo>
                <a:lnTo>
                  <a:pt x="1604" y="3595"/>
                </a:lnTo>
                <a:lnTo>
                  <a:pt x="1597" y="3593"/>
                </a:lnTo>
                <a:lnTo>
                  <a:pt x="1585" y="3595"/>
                </a:lnTo>
                <a:lnTo>
                  <a:pt x="1580" y="3595"/>
                </a:lnTo>
                <a:lnTo>
                  <a:pt x="1573" y="3595"/>
                </a:lnTo>
                <a:lnTo>
                  <a:pt x="1571" y="3593"/>
                </a:lnTo>
                <a:lnTo>
                  <a:pt x="1571" y="3593"/>
                </a:lnTo>
                <a:lnTo>
                  <a:pt x="1571" y="3591"/>
                </a:lnTo>
                <a:lnTo>
                  <a:pt x="1571" y="3588"/>
                </a:lnTo>
                <a:lnTo>
                  <a:pt x="1561" y="3581"/>
                </a:lnTo>
                <a:lnTo>
                  <a:pt x="1557" y="3583"/>
                </a:lnTo>
                <a:lnTo>
                  <a:pt x="1552" y="3588"/>
                </a:lnTo>
                <a:lnTo>
                  <a:pt x="1542" y="3602"/>
                </a:lnTo>
                <a:lnTo>
                  <a:pt x="1538" y="3602"/>
                </a:lnTo>
                <a:lnTo>
                  <a:pt x="1533" y="3595"/>
                </a:lnTo>
                <a:lnTo>
                  <a:pt x="1526" y="3583"/>
                </a:lnTo>
                <a:lnTo>
                  <a:pt x="1521" y="3581"/>
                </a:lnTo>
                <a:lnTo>
                  <a:pt x="1505" y="3579"/>
                </a:lnTo>
                <a:lnTo>
                  <a:pt x="1500" y="3579"/>
                </a:lnTo>
                <a:lnTo>
                  <a:pt x="1493" y="3583"/>
                </a:lnTo>
                <a:lnTo>
                  <a:pt x="1474" y="3586"/>
                </a:lnTo>
                <a:lnTo>
                  <a:pt x="1450" y="3595"/>
                </a:lnTo>
                <a:lnTo>
                  <a:pt x="1438" y="3595"/>
                </a:lnTo>
                <a:lnTo>
                  <a:pt x="1426" y="3591"/>
                </a:lnTo>
                <a:lnTo>
                  <a:pt x="1424" y="3588"/>
                </a:lnTo>
                <a:lnTo>
                  <a:pt x="1424" y="3586"/>
                </a:lnTo>
                <a:lnTo>
                  <a:pt x="1422" y="3583"/>
                </a:lnTo>
                <a:lnTo>
                  <a:pt x="1417" y="3583"/>
                </a:lnTo>
                <a:lnTo>
                  <a:pt x="1415" y="3581"/>
                </a:lnTo>
                <a:lnTo>
                  <a:pt x="1412" y="3579"/>
                </a:lnTo>
                <a:lnTo>
                  <a:pt x="1412" y="3576"/>
                </a:lnTo>
                <a:lnTo>
                  <a:pt x="1410" y="3574"/>
                </a:lnTo>
                <a:lnTo>
                  <a:pt x="1405" y="3569"/>
                </a:lnTo>
                <a:lnTo>
                  <a:pt x="1400" y="3562"/>
                </a:lnTo>
                <a:lnTo>
                  <a:pt x="1400" y="3555"/>
                </a:lnTo>
                <a:lnTo>
                  <a:pt x="1400" y="3548"/>
                </a:lnTo>
                <a:lnTo>
                  <a:pt x="1396" y="3550"/>
                </a:lnTo>
                <a:lnTo>
                  <a:pt x="1386" y="3553"/>
                </a:lnTo>
                <a:lnTo>
                  <a:pt x="1377" y="3553"/>
                </a:lnTo>
                <a:lnTo>
                  <a:pt x="1374" y="3543"/>
                </a:lnTo>
                <a:lnTo>
                  <a:pt x="1355" y="3531"/>
                </a:lnTo>
                <a:lnTo>
                  <a:pt x="1351" y="3529"/>
                </a:lnTo>
                <a:lnTo>
                  <a:pt x="1348" y="3531"/>
                </a:lnTo>
                <a:lnTo>
                  <a:pt x="1346" y="3536"/>
                </a:lnTo>
                <a:lnTo>
                  <a:pt x="1344" y="3536"/>
                </a:lnTo>
                <a:lnTo>
                  <a:pt x="1341" y="3534"/>
                </a:lnTo>
                <a:lnTo>
                  <a:pt x="1325" y="3546"/>
                </a:lnTo>
                <a:lnTo>
                  <a:pt x="1318" y="3550"/>
                </a:lnTo>
                <a:lnTo>
                  <a:pt x="1308" y="3550"/>
                </a:lnTo>
                <a:lnTo>
                  <a:pt x="1292" y="3543"/>
                </a:lnTo>
                <a:lnTo>
                  <a:pt x="1284" y="3543"/>
                </a:lnTo>
                <a:lnTo>
                  <a:pt x="1282" y="3553"/>
                </a:lnTo>
                <a:lnTo>
                  <a:pt x="1280" y="3553"/>
                </a:lnTo>
                <a:lnTo>
                  <a:pt x="1275" y="3557"/>
                </a:lnTo>
                <a:lnTo>
                  <a:pt x="1273" y="3557"/>
                </a:lnTo>
                <a:lnTo>
                  <a:pt x="1270" y="3555"/>
                </a:lnTo>
                <a:lnTo>
                  <a:pt x="1270" y="3553"/>
                </a:lnTo>
                <a:lnTo>
                  <a:pt x="1270" y="3550"/>
                </a:lnTo>
                <a:lnTo>
                  <a:pt x="1268" y="3548"/>
                </a:lnTo>
                <a:lnTo>
                  <a:pt x="1268" y="3548"/>
                </a:lnTo>
                <a:lnTo>
                  <a:pt x="1261" y="3548"/>
                </a:lnTo>
                <a:lnTo>
                  <a:pt x="1261" y="3546"/>
                </a:lnTo>
                <a:lnTo>
                  <a:pt x="1261" y="3543"/>
                </a:lnTo>
                <a:lnTo>
                  <a:pt x="1261" y="3543"/>
                </a:lnTo>
                <a:lnTo>
                  <a:pt x="1261" y="3541"/>
                </a:lnTo>
                <a:lnTo>
                  <a:pt x="1249" y="3524"/>
                </a:lnTo>
                <a:lnTo>
                  <a:pt x="1242" y="3520"/>
                </a:lnTo>
                <a:lnTo>
                  <a:pt x="1232" y="3512"/>
                </a:lnTo>
                <a:lnTo>
                  <a:pt x="1228" y="3512"/>
                </a:lnTo>
                <a:lnTo>
                  <a:pt x="1225" y="3512"/>
                </a:lnTo>
                <a:lnTo>
                  <a:pt x="1223" y="3512"/>
                </a:lnTo>
                <a:lnTo>
                  <a:pt x="1218" y="3510"/>
                </a:lnTo>
                <a:lnTo>
                  <a:pt x="1218" y="3505"/>
                </a:lnTo>
                <a:lnTo>
                  <a:pt x="1218" y="3503"/>
                </a:lnTo>
                <a:lnTo>
                  <a:pt x="1218" y="3501"/>
                </a:lnTo>
                <a:lnTo>
                  <a:pt x="1218" y="3498"/>
                </a:lnTo>
                <a:lnTo>
                  <a:pt x="1214" y="3482"/>
                </a:lnTo>
                <a:lnTo>
                  <a:pt x="1204" y="3479"/>
                </a:lnTo>
                <a:lnTo>
                  <a:pt x="1180" y="3484"/>
                </a:lnTo>
                <a:lnTo>
                  <a:pt x="1157" y="3482"/>
                </a:lnTo>
                <a:lnTo>
                  <a:pt x="1145" y="3477"/>
                </a:lnTo>
                <a:lnTo>
                  <a:pt x="1133" y="3470"/>
                </a:lnTo>
                <a:lnTo>
                  <a:pt x="1131" y="3465"/>
                </a:lnTo>
                <a:lnTo>
                  <a:pt x="1124" y="3463"/>
                </a:lnTo>
                <a:lnTo>
                  <a:pt x="1114" y="3460"/>
                </a:lnTo>
                <a:lnTo>
                  <a:pt x="1112" y="3460"/>
                </a:lnTo>
                <a:lnTo>
                  <a:pt x="1107" y="3456"/>
                </a:lnTo>
                <a:lnTo>
                  <a:pt x="1102" y="3456"/>
                </a:lnTo>
                <a:lnTo>
                  <a:pt x="1093" y="3456"/>
                </a:lnTo>
                <a:lnTo>
                  <a:pt x="1081" y="3449"/>
                </a:lnTo>
                <a:lnTo>
                  <a:pt x="1072" y="3441"/>
                </a:lnTo>
                <a:lnTo>
                  <a:pt x="1053" y="3437"/>
                </a:lnTo>
                <a:lnTo>
                  <a:pt x="1048" y="3434"/>
                </a:lnTo>
                <a:lnTo>
                  <a:pt x="1041" y="3427"/>
                </a:lnTo>
                <a:lnTo>
                  <a:pt x="1041" y="3423"/>
                </a:lnTo>
                <a:lnTo>
                  <a:pt x="1043" y="3418"/>
                </a:lnTo>
                <a:lnTo>
                  <a:pt x="1050" y="3411"/>
                </a:lnTo>
                <a:lnTo>
                  <a:pt x="1043" y="3408"/>
                </a:lnTo>
                <a:lnTo>
                  <a:pt x="1036" y="3411"/>
                </a:lnTo>
                <a:lnTo>
                  <a:pt x="1031" y="3418"/>
                </a:lnTo>
                <a:lnTo>
                  <a:pt x="1029" y="3427"/>
                </a:lnTo>
                <a:lnTo>
                  <a:pt x="1027" y="3437"/>
                </a:lnTo>
                <a:lnTo>
                  <a:pt x="1024" y="3444"/>
                </a:lnTo>
                <a:lnTo>
                  <a:pt x="1019" y="3444"/>
                </a:lnTo>
                <a:lnTo>
                  <a:pt x="1010" y="3444"/>
                </a:lnTo>
                <a:lnTo>
                  <a:pt x="1003" y="3441"/>
                </a:lnTo>
                <a:lnTo>
                  <a:pt x="996" y="3437"/>
                </a:lnTo>
                <a:lnTo>
                  <a:pt x="991" y="3432"/>
                </a:lnTo>
                <a:lnTo>
                  <a:pt x="986" y="3423"/>
                </a:lnTo>
                <a:lnTo>
                  <a:pt x="989" y="3418"/>
                </a:lnTo>
                <a:lnTo>
                  <a:pt x="1003" y="3404"/>
                </a:lnTo>
                <a:lnTo>
                  <a:pt x="1008" y="3399"/>
                </a:lnTo>
                <a:lnTo>
                  <a:pt x="1012" y="3385"/>
                </a:lnTo>
                <a:lnTo>
                  <a:pt x="1015" y="3368"/>
                </a:lnTo>
                <a:lnTo>
                  <a:pt x="1015" y="3354"/>
                </a:lnTo>
                <a:lnTo>
                  <a:pt x="1005" y="3344"/>
                </a:lnTo>
                <a:lnTo>
                  <a:pt x="1001" y="3344"/>
                </a:lnTo>
                <a:lnTo>
                  <a:pt x="998" y="3344"/>
                </a:lnTo>
                <a:lnTo>
                  <a:pt x="996" y="3344"/>
                </a:lnTo>
                <a:lnTo>
                  <a:pt x="982" y="3337"/>
                </a:lnTo>
                <a:lnTo>
                  <a:pt x="972" y="3335"/>
                </a:lnTo>
                <a:lnTo>
                  <a:pt x="965" y="3335"/>
                </a:lnTo>
                <a:lnTo>
                  <a:pt x="960" y="3337"/>
                </a:lnTo>
                <a:lnTo>
                  <a:pt x="958" y="3344"/>
                </a:lnTo>
                <a:lnTo>
                  <a:pt x="958" y="3349"/>
                </a:lnTo>
                <a:lnTo>
                  <a:pt x="953" y="3352"/>
                </a:lnTo>
                <a:lnTo>
                  <a:pt x="949" y="3352"/>
                </a:lnTo>
                <a:lnTo>
                  <a:pt x="946" y="3349"/>
                </a:lnTo>
                <a:lnTo>
                  <a:pt x="941" y="3349"/>
                </a:lnTo>
                <a:lnTo>
                  <a:pt x="941" y="3347"/>
                </a:lnTo>
                <a:lnTo>
                  <a:pt x="939" y="3340"/>
                </a:lnTo>
                <a:lnTo>
                  <a:pt x="939" y="3335"/>
                </a:lnTo>
                <a:lnTo>
                  <a:pt x="939" y="3333"/>
                </a:lnTo>
                <a:lnTo>
                  <a:pt x="939" y="3330"/>
                </a:lnTo>
                <a:lnTo>
                  <a:pt x="937" y="3328"/>
                </a:lnTo>
                <a:lnTo>
                  <a:pt x="930" y="3325"/>
                </a:lnTo>
                <a:lnTo>
                  <a:pt x="927" y="3325"/>
                </a:lnTo>
                <a:lnTo>
                  <a:pt x="922" y="3328"/>
                </a:lnTo>
                <a:lnTo>
                  <a:pt x="915" y="3328"/>
                </a:lnTo>
                <a:lnTo>
                  <a:pt x="911" y="3330"/>
                </a:lnTo>
                <a:lnTo>
                  <a:pt x="908" y="3330"/>
                </a:lnTo>
                <a:lnTo>
                  <a:pt x="906" y="3328"/>
                </a:lnTo>
                <a:lnTo>
                  <a:pt x="906" y="3318"/>
                </a:lnTo>
                <a:lnTo>
                  <a:pt x="901" y="3314"/>
                </a:lnTo>
                <a:lnTo>
                  <a:pt x="892" y="3309"/>
                </a:lnTo>
                <a:lnTo>
                  <a:pt x="892" y="3304"/>
                </a:lnTo>
                <a:lnTo>
                  <a:pt x="894" y="3295"/>
                </a:lnTo>
                <a:lnTo>
                  <a:pt x="894" y="3283"/>
                </a:lnTo>
                <a:lnTo>
                  <a:pt x="899" y="3288"/>
                </a:lnTo>
                <a:lnTo>
                  <a:pt x="904" y="3283"/>
                </a:lnTo>
                <a:lnTo>
                  <a:pt x="908" y="3281"/>
                </a:lnTo>
                <a:lnTo>
                  <a:pt x="937" y="3278"/>
                </a:lnTo>
                <a:lnTo>
                  <a:pt x="944" y="3276"/>
                </a:lnTo>
                <a:lnTo>
                  <a:pt x="951" y="3271"/>
                </a:lnTo>
                <a:lnTo>
                  <a:pt x="956" y="3266"/>
                </a:lnTo>
                <a:lnTo>
                  <a:pt x="958" y="3264"/>
                </a:lnTo>
                <a:lnTo>
                  <a:pt x="965" y="3250"/>
                </a:lnTo>
                <a:lnTo>
                  <a:pt x="967" y="3245"/>
                </a:lnTo>
                <a:lnTo>
                  <a:pt x="970" y="3243"/>
                </a:lnTo>
                <a:lnTo>
                  <a:pt x="986" y="3231"/>
                </a:lnTo>
                <a:lnTo>
                  <a:pt x="989" y="3224"/>
                </a:lnTo>
                <a:lnTo>
                  <a:pt x="993" y="3210"/>
                </a:lnTo>
                <a:lnTo>
                  <a:pt x="996" y="3195"/>
                </a:lnTo>
                <a:lnTo>
                  <a:pt x="1005" y="3172"/>
                </a:lnTo>
                <a:lnTo>
                  <a:pt x="1017" y="3101"/>
                </a:lnTo>
                <a:lnTo>
                  <a:pt x="1027" y="3077"/>
                </a:lnTo>
                <a:lnTo>
                  <a:pt x="1038" y="3023"/>
                </a:lnTo>
                <a:lnTo>
                  <a:pt x="1060" y="2902"/>
                </a:lnTo>
                <a:lnTo>
                  <a:pt x="1069" y="2843"/>
                </a:lnTo>
                <a:lnTo>
                  <a:pt x="1072" y="2814"/>
                </a:lnTo>
                <a:lnTo>
                  <a:pt x="1072" y="2810"/>
                </a:lnTo>
                <a:lnTo>
                  <a:pt x="1069" y="2798"/>
                </a:lnTo>
                <a:lnTo>
                  <a:pt x="1069" y="2793"/>
                </a:lnTo>
                <a:lnTo>
                  <a:pt x="1076" y="2781"/>
                </a:lnTo>
                <a:lnTo>
                  <a:pt x="1079" y="2779"/>
                </a:lnTo>
                <a:lnTo>
                  <a:pt x="1079" y="2774"/>
                </a:lnTo>
                <a:lnTo>
                  <a:pt x="1083" y="2755"/>
                </a:lnTo>
                <a:lnTo>
                  <a:pt x="1090" y="2746"/>
                </a:lnTo>
                <a:lnTo>
                  <a:pt x="1098" y="2746"/>
                </a:lnTo>
                <a:lnTo>
                  <a:pt x="1116" y="2750"/>
                </a:lnTo>
                <a:lnTo>
                  <a:pt x="1128" y="2750"/>
                </a:lnTo>
                <a:lnTo>
                  <a:pt x="1133" y="2746"/>
                </a:lnTo>
                <a:lnTo>
                  <a:pt x="1133" y="2738"/>
                </a:lnTo>
                <a:lnTo>
                  <a:pt x="1126" y="2731"/>
                </a:lnTo>
                <a:lnTo>
                  <a:pt x="1131" y="2731"/>
                </a:lnTo>
                <a:lnTo>
                  <a:pt x="1128" y="2724"/>
                </a:lnTo>
                <a:lnTo>
                  <a:pt x="1105" y="2703"/>
                </a:lnTo>
                <a:lnTo>
                  <a:pt x="1102" y="2701"/>
                </a:lnTo>
                <a:lnTo>
                  <a:pt x="1100" y="2701"/>
                </a:lnTo>
                <a:lnTo>
                  <a:pt x="1100" y="2698"/>
                </a:lnTo>
                <a:lnTo>
                  <a:pt x="1098" y="2698"/>
                </a:lnTo>
                <a:lnTo>
                  <a:pt x="1095" y="2698"/>
                </a:lnTo>
                <a:lnTo>
                  <a:pt x="1095" y="2701"/>
                </a:lnTo>
                <a:lnTo>
                  <a:pt x="1093" y="2701"/>
                </a:lnTo>
                <a:lnTo>
                  <a:pt x="1093" y="2703"/>
                </a:lnTo>
                <a:lnTo>
                  <a:pt x="1093" y="2703"/>
                </a:lnTo>
                <a:lnTo>
                  <a:pt x="1090" y="2708"/>
                </a:lnTo>
                <a:lnTo>
                  <a:pt x="1076" y="2729"/>
                </a:lnTo>
                <a:lnTo>
                  <a:pt x="1074" y="2748"/>
                </a:lnTo>
                <a:lnTo>
                  <a:pt x="1069" y="2757"/>
                </a:lnTo>
                <a:lnTo>
                  <a:pt x="1067" y="2762"/>
                </a:lnTo>
                <a:lnTo>
                  <a:pt x="1090" y="2552"/>
                </a:lnTo>
                <a:lnTo>
                  <a:pt x="1102" y="2485"/>
                </a:lnTo>
                <a:lnTo>
                  <a:pt x="1109" y="2395"/>
                </a:lnTo>
                <a:lnTo>
                  <a:pt x="1112" y="2388"/>
                </a:lnTo>
                <a:lnTo>
                  <a:pt x="1121" y="2367"/>
                </a:lnTo>
                <a:lnTo>
                  <a:pt x="1126" y="2360"/>
                </a:lnTo>
                <a:lnTo>
                  <a:pt x="1131" y="2360"/>
                </a:lnTo>
                <a:lnTo>
                  <a:pt x="1135" y="2360"/>
                </a:lnTo>
                <a:lnTo>
                  <a:pt x="1135" y="2362"/>
                </a:lnTo>
                <a:lnTo>
                  <a:pt x="1135" y="2367"/>
                </a:lnTo>
                <a:lnTo>
                  <a:pt x="1135" y="2372"/>
                </a:lnTo>
                <a:lnTo>
                  <a:pt x="1133" y="2372"/>
                </a:lnTo>
                <a:lnTo>
                  <a:pt x="1133" y="2374"/>
                </a:lnTo>
                <a:lnTo>
                  <a:pt x="1133" y="2376"/>
                </a:lnTo>
                <a:lnTo>
                  <a:pt x="1133" y="2379"/>
                </a:lnTo>
                <a:lnTo>
                  <a:pt x="1138" y="2383"/>
                </a:lnTo>
                <a:lnTo>
                  <a:pt x="1140" y="2388"/>
                </a:lnTo>
                <a:lnTo>
                  <a:pt x="1159" y="2402"/>
                </a:lnTo>
                <a:lnTo>
                  <a:pt x="1173" y="2412"/>
                </a:lnTo>
                <a:lnTo>
                  <a:pt x="1178" y="2412"/>
                </a:lnTo>
                <a:lnTo>
                  <a:pt x="1214" y="2454"/>
                </a:lnTo>
                <a:lnTo>
                  <a:pt x="1221" y="2466"/>
                </a:lnTo>
                <a:lnTo>
                  <a:pt x="1225" y="2478"/>
                </a:lnTo>
                <a:lnTo>
                  <a:pt x="1225" y="2488"/>
                </a:lnTo>
                <a:lnTo>
                  <a:pt x="1230" y="2504"/>
                </a:lnTo>
                <a:lnTo>
                  <a:pt x="1235" y="2542"/>
                </a:lnTo>
                <a:lnTo>
                  <a:pt x="1235" y="2547"/>
                </a:lnTo>
                <a:lnTo>
                  <a:pt x="1244" y="2573"/>
                </a:lnTo>
                <a:lnTo>
                  <a:pt x="1256" y="2587"/>
                </a:lnTo>
                <a:lnTo>
                  <a:pt x="1268" y="2599"/>
                </a:lnTo>
                <a:lnTo>
                  <a:pt x="1277" y="2604"/>
                </a:lnTo>
                <a:lnTo>
                  <a:pt x="1280" y="2606"/>
                </a:lnTo>
                <a:lnTo>
                  <a:pt x="1282" y="2613"/>
                </a:lnTo>
                <a:lnTo>
                  <a:pt x="1282" y="2615"/>
                </a:lnTo>
                <a:lnTo>
                  <a:pt x="1282" y="2623"/>
                </a:lnTo>
                <a:lnTo>
                  <a:pt x="1282" y="2632"/>
                </a:lnTo>
                <a:lnTo>
                  <a:pt x="1282" y="2641"/>
                </a:lnTo>
                <a:lnTo>
                  <a:pt x="1284" y="2649"/>
                </a:lnTo>
                <a:lnTo>
                  <a:pt x="1289" y="2651"/>
                </a:lnTo>
                <a:lnTo>
                  <a:pt x="1289" y="2644"/>
                </a:lnTo>
                <a:lnTo>
                  <a:pt x="1287" y="2632"/>
                </a:lnTo>
                <a:lnTo>
                  <a:pt x="1284" y="2627"/>
                </a:lnTo>
                <a:lnTo>
                  <a:pt x="1289" y="2615"/>
                </a:lnTo>
                <a:lnTo>
                  <a:pt x="1284" y="2606"/>
                </a:lnTo>
                <a:lnTo>
                  <a:pt x="1277" y="2599"/>
                </a:lnTo>
                <a:lnTo>
                  <a:pt x="1270" y="2594"/>
                </a:lnTo>
                <a:lnTo>
                  <a:pt x="1280" y="2596"/>
                </a:lnTo>
                <a:lnTo>
                  <a:pt x="1289" y="2596"/>
                </a:lnTo>
                <a:lnTo>
                  <a:pt x="1296" y="2601"/>
                </a:lnTo>
                <a:lnTo>
                  <a:pt x="1301" y="2606"/>
                </a:lnTo>
                <a:lnTo>
                  <a:pt x="1294" y="2594"/>
                </a:lnTo>
                <a:lnTo>
                  <a:pt x="1282" y="2587"/>
                </a:lnTo>
                <a:lnTo>
                  <a:pt x="1270" y="2582"/>
                </a:lnTo>
                <a:lnTo>
                  <a:pt x="1258" y="2575"/>
                </a:lnTo>
                <a:lnTo>
                  <a:pt x="1254" y="2563"/>
                </a:lnTo>
                <a:lnTo>
                  <a:pt x="1249" y="2549"/>
                </a:lnTo>
                <a:lnTo>
                  <a:pt x="1240" y="2469"/>
                </a:lnTo>
                <a:lnTo>
                  <a:pt x="1235" y="2452"/>
                </a:lnTo>
                <a:lnTo>
                  <a:pt x="1225" y="2424"/>
                </a:lnTo>
                <a:lnTo>
                  <a:pt x="1221" y="2412"/>
                </a:lnTo>
                <a:lnTo>
                  <a:pt x="1214" y="2402"/>
                </a:lnTo>
                <a:lnTo>
                  <a:pt x="1199" y="2386"/>
                </a:lnTo>
                <a:lnTo>
                  <a:pt x="1157" y="2353"/>
                </a:lnTo>
                <a:lnTo>
                  <a:pt x="1157" y="2353"/>
                </a:lnTo>
                <a:lnTo>
                  <a:pt x="1154" y="2343"/>
                </a:lnTo>
                <a:lnTo>
                  <a:pt x="1154" y="2341"/>
                </a:lnTo>
                <a:lnTo>
                  <a:pt x="1143" y="2338"/>
                </a:lnTo>
                <a:lnTo>
                  <a:pt x="1128" y="2322"/>
                </a:lnTo>
                <a:lnTo>
                  <a:pt x="1119" y="2317"/>
                </a:lnTo>
                <a:lnTo>
                  <a:pt x="1114" y="2317"/>
                </a:lnTo>
                <a:lnTo>
                  <a:pt x="1107" y="2315"/>
                </a:lnTo>
                <a:lnTo>
                  <a:pt x="1105" y="2310"/>
                </a:lnTo>
                <a:lnTo>
                  <a:pt x="1100" y="2305"/>
                </a:lnTo>
                <a:lnTo>
                  <a:pt x="1095" y="2301"/>
                </a:lnTo>
                <a:lnTo>
                  <a:pt x="1083" y="2303"/>
                </a:lnTo>
                <a:lnTo>
                  <a:pt x="1079" y="2301"/>
                </a:lnTo>
                <a:lnTo>
                  <a:pt x="1086" y="2270"/>
                </a:lnTo>
                <a:lnTo>
                  <a:pt x="1086" y="2265"/>
                </a:lnTo>
                <a:lnTo>
                  <a:pt x="1105" y="2258"/>
                </a:lnTo>
                <a:lnTo>
                  <a:pt x="1109" y="2260"/>
                </a:lnTo>
                <a:lnTo>
                  <a:pt x="1128" y="2282"/>
                </a:lnTo>
                <a:lnTo>
                  <a:pt x="1133" y="2284"/>
                </a:lnTo>
                <a:lnTo>
                  <a:pt x="1135" y="2289"/>
                </a:lnTo>
                <a:lnTo>
                  <a:pt x="1157" y="2298"/>
                </a:lnTo>
                <a:lnTo>
                  <a:pt x="1150" y="2291"/>
                </a:lnTo>
                <a:lnTo>
                  <a:pt x="1124" y="2267"/>
                </a:lnTo>
                <a:lnTo>
                  <a:pt x="1116" y="2258"/>
                </a:lnTo>
                <a:lnTo>
                  <a:pt x="1114" y="2256"/>
                </a:lnTo>
                <a:lnTo>
                  <a:pt x="1114" y="2251"/>
                </a:lnTo>
                <a:lnTo>
                  <a:pt x="1112" y="2244"/>
                </a:lnTo>
                <a:lnTo>
                  <a:pt x="1112" y="2237"/>
                </a:lnTo>
                <a:lnTo>
                  <a:pt x="1109" y="2232"/>
                </a:lnTo>
                <a:lnTo>
                  <a:pt x="1112" y="2232"/>
                </a:lnTo>
                <a:lnTo>
                  <a:pt x="1114" y="2230"/>
                </a:lnTo>
                <a:lnTo>
                  <a:pt x="1116" y="2227"/>
                </a:lnTo>
                <a:lnTo>
                  <a:pt x="1116" y="2225"/>
                </a:lnTo>
                <a:lnTo>
                  <a:pt x="1121" y="2220"/>
                </a:lnTo>
                <a:lnTo>
                  <a:pt x="1126" y="2218"/>
                </a:lnTo>
                <a:lnTo>
                  <a:pt x="1128" y="2218"/>
                </a:lnTo>
                <a:lnTo>
                  <a:pt x="1131" y="2218"/>
                </a:lnTo>
                <a:lnTo>
                  <a:pt x="1133" y="2218"/>
                </a:lnTo>
                <a:lnTo>
                  <a:pt x="1133" y="2213"/>
                </a:lnTo>
                <a:lnTo>
                  <a:pt x="1133" y="2208"/>
                </a:lnTo>
                <a:lnTo>
                  <a:pt x="1131" y="2204"/>
                </a:lnTo>
                <a:lnTo>
                  <a:pt x="1128" y="2201"/>
                </a:lnTo>
                <a:lnTo>
                  <a:pt x="1128" y="2199"/>
                </a:lnTo>
                <a:lnTo>
                  <a:pt x="1128" y="2196"/>
                </a:lnTo>
                <a:lnTo>
                  <a:pt x="1133" y="2194"/>
                </a:lnTo>
                <a:lnTo>
                  <a:pt x="1133" y="2192"/>
                </a:lnTo>
                <a:lnTo>
                  <a:pt x="1128" y="2189"/>
                </a:lnTo>
                <a:lnTo>
                  <a:pt x="1126" y="2182"/>
                </a:lnTo>
                <a:lnTo>
                  <a:pt x="1121" y="2168"/>
                </a:lnTo>
                <a:lnTo>
                  <a:pt x="1128" y="2173"/>
                </a:lnTo>
                <a:lnTo>
                  <a:pt x="1133" y="2173"/>
                </a:lnTo>
                <a:lnTo>
                  <a:pt x="1138" y="2170"/>
                </a:lnTo>
                <a:lnTo>
                  <a:pt x="1140" y="2163"/>
                </a:lnTo>
                <a:lnTo>
                  <a:pt x="1140" y="2161"/>
                </a:lnTo>
                <a:lnTo>
                  <a:pt x="1138" y="2159"/>
                </a:lnTo>
                <a:lnTo>
                  <a:pt x="1138" y="2156"/>
                </a:lnTo>
                <a:lnTo>
                  <a:pt x="1135" y="2154"/>
                </a:lnTo>
                <a:lnTo>
                  <a:pt x="1131" y="2152"/>
                </a:lnTo>
                <a:lnTo>
                  <a:pt x="1128" y="2149"/>
                </a:lnTo>
                <a:lnTo>
                  <a:pt x="1128" y="2144"/>
                </a:lnTo>
                <a:lnTo>
                  <a:pt x="1126" y="2140"/>
                </a:lnTo>
                <a:lnTo>
                  <a:pt x="1126" y="2135"/>
                </a:lnTo>
                <a:lnTo>
                  <a:pt x="1126" y="2133"/>
                </a:lnTo>
                <a:lnTo>
                  <a:pt x="1126" y="2133"/>
                </a:lnTo>
                <a:lnTo>
                  <a:pt x="1121" y="2130"/>
                </a:lnTo>
                <a:lnTo>
                  <a:pt x="1121" y="2130"/>
                </a:lnTo>
                <a:lnTo>
                  <a:pt x="1119" y="2128"/>
                </a:lnTo>
                <a:lnTo>
                  <a:pt x="1116" y="2128"/>
                </a:lnTo>
                <a:lnTo>
                  <a:pt x="1116" y="2125"/>
                </a:lnTo>
                <a:lnTo>
                  <a:pt x="1121" y="2121"/>
                </a:lnTo>
                <a:lnTo>
                  <a:pt x="1114" y="2116"/>
                </a:lnTo>
                <a:lnTo>
                  <a:pt x="1112" y="2116"/>
                </a:lnTo>
                <a:lnTo>
                  <a:pt x="1109" y="2116"/>
                </a:lnTo>
                <a:lnTo>
                  <a:pt x="1109" y="2114"/>
                </a:lnTo>
                <a:lnTo>
                  <a:pt x="1112" y="2111"/>
                </a:lnTo>
                <a:lnTo>
                  <a:pt x="1109" y="2109"/>
                </a:lnTo>
                <a:lnTo>
                  <a:pt x="1109" y="2109"/>
                </a:lnTo>
                <a:lnTo>
                  <a:pt x="1105" y="2109"/>
                </a:lnTo>
                <a:lnTo>
                  <a:pt x="1102" y="2109"/>
                </a:lnTo>
                <a:lnTo>
                  <a:pt x="1098" y="2109"/>
                </a:lnTo>
                <a:lnTo>
                  <a:pt x="1095" y="2109"/>
                </a:lnTo>
                <a:lnTo>
                  <a:pt x="1093" y="2104"/>
                </a:lnTo>
                <a:lnTo>
                  <a:pt x="1093" y="2102"/>
                </a:lnTo>
                <a:lnTo>
                  <a:pt x="1095" y="2097"/>
                </a:lnTo>
                <a:lnTo>
                  <a:pt x="1098" y="2095"/>
                </a:lnTo>
                <a:lnTo>
                  <a:pt x="1100" y="2092"/>
                </a:lnTo>
                <a:lnTo>
                  <a:pt x="1100" y="2083"/>
                </a:lnTo>
                <a:lnTo>
                  <a:pt x="1102" y="2078"/>
                </a:lnTo>
                <a:lnTo>
                  <a:pt x="1124" y="2066"/>
                </a:lnTo>
                <a:lnTo>
                  <a:pt x="1126" y="2062"/>
                </a:lnTo>
                <a:lnTo>
                  <a:pt x="1126" y="2057"/>
                </a:lnTo>
                <a:lnTo>
                  <a:pt x="1124" y="2054"/>
                </a:lnTo>
                <a:lnTo>
                  <a:pt x="1124" y="2047"/>
                </a:lnTo>
                <a:lnTo>
                  <a:pt x="1116" y="2038"/>
                </a:lnTo>
                <a:lnTo>
                  <a:pt x="1105" y="2038"/>
                </a:lnTo>
                <a:lnTo>
                  <a:pt x="1093" y="2043"/>
                </a:lnTo>
                <a:lnTo>
                  <a:pt x="1093" y="2057"/>
                </a:lnTo>
                <a:lnTo>
                  <a:pt x="1086" y="2054"/>
                </a:lnTo>
                <a:lnTo>
                  <a:pt x="1079" y="2047"/>
                </a:lnTo>
                <a:lnTo>
                  <a:pt x="1074" y="2040"/>
                </a:lnTo>
                <a:lnTo>
                  <a:pt x="1069" y="2038"/>
                </a:lnTo>
                <a:lnTo>
                  <a:pt x="1067" y="2038"/>
                </a:lnTo>
                <a:lnTo>
                  <a:pt x="1057" y="2031"/>
                </a:lnTo>
                <a:lnTo>
                  <a:pt x="1050" y="2026"/>
                </a:lnTo>
                <a:lnTo>
                  <a:pt x="1048" y="2024"/>
                </a:lnTo>
                <a:lnTo>
                  <a:pt x="1031" y="2028"/>
                </a:lnTo>
                <a:lnTo>
                  <a:pt x="1024" y="2028"/>
                </a:lnTo>
                <a:lnTo>
                  <a:pt x="1022" y="2019"/>
                </a:lnTo>
                <a:lnTo>
                  <a:pt x="1019" y="2010"/>
                </a:lnTo>
                <a:lnTo>
                  <a:pt x="1015" y="2000"/>
                </a:lnTo>
                <a:lnTo>
                  <a:pt x="1008" y="1995"/>
                </a:lnTo>
                <a:lnTo>
                  <a:pt x="1001" y="1993"/>
                </a:lnTo>
                <a:lnTo>
                  <a:pt x="979" y="1993"/>
                </a:lnTo>
                <a:lnTo>
                  <a:pt x="972" y="1991"/>
                </a:lnTo>
                <a:lnTo>
                  <a:pt x="975" y="1986"/>
                </a:lnTo>
                <a:lnTo>
                  <a:pt x="970" y="1981"/>
                </a:lnTo>
                <a:lnTo>
                  <a:pt x="956" y="1976"/>
                </a:lnTo>
                <a:lnTo>
                  <a:pt x="946" y="1967"/>
                </a:lnTo>
                <a:lnTo>
                  <a:pt x="937" y="1965"/>
                </a:lnTo>
                <a:lnTo>
                  <a:pt x="934" y="1962"/>
                </a:lnTo>
                <a:lnTo>
                  <a:pt x="932" y="1960"/>
                </a:lnTo>
                <a:lnTo>
                  <a:pt x="927" y="1950"/>
                </a:lnTo>
                <a:lnTo>
                  <a:pt x="925" y="1946"/>
                </a:lnTo>
                <a:lnTo>
                  <a:pt x="925" y="1950"/>
                </a:lnTo>
                <a:lnTo>
                  <a:pt x="927" y="1957"/>
                </a:lnTo>
                <a:lnTo>
                  <a:pt x="927" y="1962"/>
                </a:lnTo>
                <a:lnTo>
                  <a:pt x="925" y="1965"/>
                </a:lnTo>
                <a:lnTo>
                  <a:pt x="922" y="1962"/>
                </a:lnTo>
                <a:lnTo>
                  <a:pt x="920" y="1957"/>
                </a:lnTo>
                <a:lnTo>
                  <a:pt x="915" y="1927"/>
                </a:lnTo>
                <a:lnTo>
                  <a:pt x="915" y="1920"/>
                </a:lnTo>
                <a:lnTo>
                  <a:pt x="911" y="1917"/>
                </a:lnTo>
                <a:lnTo>
                  <a:pt x="908" y="1912"/>
                </a:lnTo>
                <a:lnTo>
                  <a:pt x="908" y="1905"/>
                </a:lnTo>
                <a:lnTo>
                  <a:pt x="906" y="1901"/>
                </a:lnTo>
                <a:lnTo>
                  <a:pt x="901" y="1896"/>
                </a:lnTo>
                <a:lnTo>
                  <a:pt x="899" y="1891"/>
                </a:lnTo>
                <a:lnTo>
                  <a:pt x="894" y="1889"/>
                </a:lnTo>
                <a:lnTo>
                  <a:pt x="892" y="1877"/>
                </a:lnTo>
                <a:lnTo>
                  <a:pt x="887" y="1875"/>
                </a:lnTo>
                <a:lnTo>
                  <a:pt x="882" y="1872"/>
                </a:lnTo>
                <a:lnTo>
                  <a:pt x="878" y="1872"/>
                </a:lnTo>
                <a:lnTo>
                  <a:pt x="875" y="1867"/>
                </a:lnTo>
                <a:lnTo>
                  <a:pt x="868" y="1851"/>
                </a:lnTo>
                <a:lnTo>
                  <a:pt x="852" y="1832"/>
                </a:lnTo>
                <a:lnTo>
                  <a:pt x="842" y="1827"/>
                </a:lnTo>
                <a:lnTo>
                  <a:pt x="835" y="1823"/>
                </a:lnTo>
                <a:lnTo>
                  <a:pt x="833" y="1820"/>
                </a:lnTo>
                <a:lnTo>
                  <a:pt x="830" y="1813"/>
                </a:lnTo>
                <a:lnTo>
                  <a:pt x="828" y="1806"/>
                </a:lnTo>
                <a:lnTo>
                  <a:pt x="828" y="1799"/>
                </a:lnTo>
                <a:lnTo>
                  <a:pt x="830" y="1789"/>
                </a:lnTo>
                <a:lnTo>
                  <a:pt x="833" y="1785"/>
                </a:lnTo>
                <a:lnTo>
                  <a:pt x="840" y="1780"/>
                </a:lnTo>
                <a:lnTo>
                  <a:pt x="837" y="1773"/>
                </a:lnTo>
                <a:lnTo>
                  <a:pt x="842" y="1768"/>
                </a:lnTo>
                <a:lnTo>
                  <a:pt x="854" y="1763"/>
                </a:lnTo>
                <a:lnTo>
                  <a:pt x="856" y="1756"/>
                </a:lnTo>
                <a:lnTo>
                  <a:pt x="863" y="1740"/>
                </a:lnTo>
                <a:lnTo>
                  <a:pt x="866" y="1733"/>
                </a:lnTo>
                <a:lnTo>
                  <a:pt x="870" y="1730"/>
                </a:lnTo>
                <a:lnTo>
                  <a:pt x="870" y="1723"/>
                </a:lnTo>
                <a:lnTo>
                  <a:pt x="868" y="1714"/>
                </a:lnTo>
                <a:lnTo>
                  <a:pt x="866" y="1709"/>
                </a:lnTo>
                <a:lnTo>
                  <a:pt x="861" y="1704"/>
                </a:lnTo>
                <a:lnTo>
                  <a:pt x="844" y="1695"/>
                </a:lnTo>
                <a:lnTo>
                  <a:pt x="811" y="1688"/>
                </a:lnTo>
                <a:lnTo>
                  <a:pt x="799" y="1683"/>
                </a:lnTo>
                <a:lnTo>
                  <a:pt x="804" y="1681"/>
                </a:lnTo>
                <a:lnTo>
                  <a:pt x="807" y="1676"/>
                </a:lnTo>
                <a:lnTo>
                  <a:pt x="811" y="1673"/>
                </a:lnTo>
                <a:lnTo>
                  <a:pt x="821" y="1673"/>
                </a:lnTo>
                <a:lnTo>
                  <a:pt x="823" y="1671"/>
                </a:lnTo>
                <a:lnTo>
                  <a:pt x="823" y="1669"/>
                </a:lnTo>
                <a:lnTo>
                  <a:pt x="825" y="1662"/>
                </a:lnTo>
                <a:lnTo>
                  <a:pt x="825" y="1657"/>
                </a:lnTo>
                <a:lnTo>
                  <a:pt x="821" y="1650"/>
                </a:lnTo>
                <a:lnTo>
                  <a:pt x="821" y="1643"/>
                </a:lnTo>
                <a:lnTo>
                  <a:pt x="821" y="1638"/>
                </a:lnTo>
                <a:lnTo>
                  <a:pt x="823" y="1633"/>
                </a:lnTo>
                <a:lnTo>
                  <a:pt x="825" y="1628"/>
                </a:lnTo>
                <a:lnTo>
                  <a:pt x="828" y="1624"/>
                </a:lnTo>
                <a:lnTo>
                  <a:pt x="835" y="1621"/>
                </a:lnTo>
                <a:lnTo>
                  <a:pt x="861" y="1619"/>
                </a:lnTo>
                <a:lnTo>
                  <a:pt x="863" y="1617"/>
                </a:lnTo>
                <a:lnTo>
                  <a:pt x="866" y="1617"/>
                </a:lnTo>
                <a:lnTo>
                  <a:pt x="868" y="1617"/>
                </a:lnTo>
                <a:lnTo>
                  <a:pt x="870" y="1619"/>
                </a:lnTo>
                <a:lnTo>
                  <a:pt x="873" y="1621"/>
                </a:lnTo>
                <a:lnTo>
                  <a:pt x="887" y="1626"/>
                </a:lnTo>
                <a:lnTo>
                  <a:pt x="892" y="1626"/>
                </a:lnTo>
                <a:lnTo>
                  <a:pt x="889" y="1624"/>
                </a:lnTo>
                <a:lnTo>
                  <a:pt x="892" y="1624"/>
                </a:lnTo>
                <a:lnTo>
                  <a:pt x="896" y="1624"/>
                </a:lnTo>
                <a:lnTo>
                  <a:pt x="899" y="1626"/>
                </a:lnTo>
                <a:lnTo>
                  <a:pt x="901" y="1628"/>
                </a:lnTo>
                <a:lnTo>
                  <a:pt x="894" y="1628"/>
                </a:lnTo>
                <a:lnTo>
                  <a:pt x="894" y="1631"/>
                </a:lnTo>
                <a:lnTo>
                  <a:pt x="906" y="1640"/>
                </a:lnTo>
                <a:lnTo>
                  <a:pt x="918" y="1643"/>
                </a:lnTo>
                <a:lnTo>
                  <a:pt x="922" y="1645"/>
                </a:lnTo>
                <a:lnTo>
                  <a:pt x="927" y="1652"/>
                </a:lnTo>
                <a:lnTo>
                  <a:pt x="934" y="1654"/>
                </a:lnTo>
                <a:lnTo>
                  <a:pt x="951" y="1657"/>
                </a:lnTo>
                <a:lnTo>
                  <a:pt x="944" y="1652"/>
                </a:lnTo>
                <a:lnTo>
                  <a:pt x="932" y="1650"/>
                </a:lnTo>
                <a:lnTo>
                  <a:pt x="927" y="1645"/>
                </a:lnTo>
                <a:lnTo>
                  <a:pt x="918" y="1636"/>
                </a:lnTo>
                <a:lnTo>
                  <a:pt x="908" y="1626"/>
                </a:lnTo>
                <a:lnTo>
                  <a:pt x="899" y="1619"/>
                </a:lnTo>
                <a:lnTo>
                  <a:pt x="894" y="1617"/>
                </a:lnTo>
                <a:lnTo>
                  <a:pt x="887" y="1617"/>
                </a:lnTo>
                <a:lnTo>
                  <a:pt x="885" y="1617"/>
                </a:lnTo>
                <a:lnTo>
                  <a:pt x="880" y="1612"/>
                </a:lnTo>
                <a:lnTo>
                  <a:pt x="868" y="1607"/>
                </a:lnTo>
                <a:lnTo>
                  <a:pt x="830" y="1610"/>
                </a:lnTo>
                <a:lnTo>
                  <a:pt x="821" y="1614"/>
                </a:lnTo>
                <a:lnTo>
                  <a:pt x="818" y="1619"/>
                </a:lnTo>
                <a:lnTo>
                  <a:pt x="816" y="1621"/>
                </a:lnTo>
                <a:lnTo>
                  <a:pt x="814" y="1624"/>
                </a:lnTo>
                <a:lnTo>
                  <a:pt x="811" y="1626"/>
                </a:lnTo>
                <a:lnTo>
                  <a:pt x="804" y="1628"/>
                </a:lnTo>
                <a:lnTo>
                  <a:pt x="797" y="1636"/>
                </a:lnTo>
                <a:lnTo>
                  <a:pt x="790" y="1638"/>
                </a:lnTo>
                <a:lnTo>
                  <a:pt x="785" y="1638"/>
                </a:lnTo>
                <a:lnTo>
                  <a:pt x="781" y="1636"/>
                </a:lnTo>
                <a:lnTo>
                  <a:pt x="776" y="1631"/>
                </a:lnTo>
                <a:lnTo>
                  <a:pt x="769" y="1621"/>
                </a:lnTo>
                <a:lnTo>
                  <a:pt x="764" y="1619"/>
                </a:lnTo>
                <a:lnTo>
                  <a:pt x="759" y="1619"/>
                </a:lnTo>
                <a:lnTo>
                  <a:pt x="757" y="1619"/>
                </a:lnTo>
                <a:lnTo>
                  <a:pt x="754" y="1619"/>
                </a:lnTo>
                <a:lnTo>
                  <a:pt x="752" y="1621"/>
                </a:lnTo>
                <a:lnTo>
                  <a:pt x="750" y="1624"/>
                </a:lnTo>
                <a:lnTo>
                  <a:pt x="750" y="1626"/>
                </a:lnTo>
                <a:lnTo>
                  <a:pt x="750" y="1628"/>
                </a:lnTo>
                <a:lnTo>
                  <a:pt x="743" y="1626"/>
                </a:lnTo>
                <a:lnTo>
                  <a:pt x="714" y="1612"/>
                </a:lnTo>
                <a:lnTo>
                  <a:pt x="714" y="1610"/>
                </a:lnTo>
                <a:lnTo>
                  <a:pt x="721" y="1610"/>
                </a:lnTo>
                <a:lnTo>
                  <a:pt x="733" y="1617"/>
                </a:lnTo>
                <a:lnTo>
                  <a:pt x="740" y="1617"/>
                </a:lnTo>
                <a:lnTo>
                  <a:pt x="745" y="1610"/>
                </a:lnTo>
                <a:lnTo>
                  <a:pt x="743" y="1605"/>
                </a:lnTo>
                <a:lnTo>
                  <a:pt x="738" y="1598"/>
                </a:lnTo>
                <a:lnTo>
                  <a:pt x="733" y="1593"/>
                </a:lnTo>
                <a:lnTo>
                  <a:pt x="731" y="1593"/>
                </a:lnTo>
                <a:lnTo>
                  <a:pt x="731" y="1593"/>
                </a:lnTo>
                <a:lnTo>
                  <a:pt x="728" y="1595"/>
                </a:lnTo>
                <a:lnTo>
                  <a:pt x="731" y="1598"/>
                </a:lnTo>
                <a:lnTo>
                  <a:pt x="731" y="1600"/>
                </a:lnTo>
                <a:lnTo>
                  <a:pt x="728" y="1605"/>
                </a:lnTo>
                <a:lnTo>
                  <a:pt x="726" y="1605"/>
                </a:lnTo>
                <a:lnTo>
                  <a:pt x="726" y="1591"/>
                </a:lnTo>
                <a:lnTo>
                  <a:pt x="724" y="1583"/>
                </a:lnTo>
                <a:lnTo>
                  <a:pt x="712" y="1576"/>
                </a:lnTo>
                <a:lnTo>
                  <a:pt x="736" y="1562"/>
                </a:lnTo>
                <a:lnTo>
                  <a:pt x="738" y="1565"/>
                </a:lnTo>
                <a:lnTo>
                  <a:pt x="740" y="1565"/>
                </a:lnTo>
                <a:lnTo>
                  <a:pt x="745" y="1567"/>
                </a:lnTo>
                <a:lnTo>
                  <a:pt x="745" y="1569"/>
                </a:lnTo>
                <a:lnTo>
                  <a:pt x="745" y="1569"/>
                </a:lnTo>
                <a:lnTo>
                  <a:pt x="745" y="1569"/>
                </a:lnTo>
                <a:lnTo>
                  <a:pt x="745" y="1572"/>
                </a:lnTo>
                <a:lnTo>
                  <a:pt x="750" y="1569"/>
                </a:lnTo>
                <a:lnTo>
                  <a:pt x="759" y="1565"/>
                </a:lnTo>
                <a:lnTo>
                  <a:pt x="759" y="1560"/>
                </a:lnTo>
                <a:lnTo>
                  <a:pt x="754" y="1560"/>
                </a:lnTo>
                <a:lnTo>
                  <a:pt x="747" y="1560"/>
                </a:lnTo>
                <a:lnTo>
                  <a:pt x="743" y="1557"/>
                </a:lnTo>
                <a:lnTo>
                  <a:pt x="747" y="1550"/>
                </a:lnTo>
                <a:lnTo>
                  <a:pt x="743" y="1548"/>
                </a:lnTo>
                <a:lnTo>
                  <a:pt x="736" y="1548"/>
                </a:lnTo>
                <a:lnTo>
                  <a:pt x="733" y="1546"/>
                </a:lnTo>
                <a:lnTo>
                  <a:pt x="736" y="1536"/>
                </a:lnTo>
                <a:lnTo>
                  <a:pt x="731" y="1531"/>
                </a:lnTo>
                <a:lnTo>
                  <a:pt x="736" y="1529"/>
                </a:lnTo>
                <a:lnTo>
                  <a:pt x="752" y="1527"/>
                </a:lnTo>
                <a:lnTo>
                  <a:pt x="764" y="1524"/>
                </a:lnTo>
                <a:lnTo>
                  <a:pt x="769" y="1527"/>
                </a:lnTo>
                <a:lnTo>
                  <a:pt x="764" y="1524"/>
                </a:lnTo>
                <a:lnTo>
                  <a:pt x="757" y="1524"/>
                </a:lnTo>
                <a:lnTo>
                  <a:pt x="752" y="1524"/>
                </a:lnTo>
                <a:lnTo>
                  <a:pt x="728" y="1515"/>
                </a:lnTo>
                <a:lnTo>
                  <a:pt x="726" y="1515"/>
                </a:lnTo>
                <a:lnTo>
                  <a:pt x="721" y="1515"/>
                </a:lnTo>
                <a:lnTo>
                  <a:pt x="712" y="1517"/>
                </a:lnTo>
                <a:lnTo>
                  <a:pt x="700" y="1517"/>
                </a:lnTo>
                <a:lnTo>
                  <a:pt x="698" y="1520"/>
                </a:lnTo>
                <a:lnTo>
                  <a:pt x="698" y="1520"/>
                </a:lnTo>
                <a:lnTo>
                  <a:pt x="695" y="1520"/>
                </a:lnTo>
                <a:lnTo>
                  <a:pt x="693" y="1517"/>
                </a:lnTo>
                <a:lnTo>
                  <a:pt x="695" y="1517"/>
                </a:lnTo>
                <a:lnTo>
                  <a:pt x="702" y="1515"/>
                </a:lnTo>
                <a:lnTo>
                  <a:pt x="705" y="1510"/>
                </a:lnTo>
                <a:lnTo>
                  <a:pt x="710" y="1503"/>
                </a:lnTo>
                <a:lnTo>
                  <a:pt x="705" y="1508"/>
                </a:lnTo>
                <a:lnTo>
                  <a:pt x="700" y="1508"/>
                </a:lnTo>
                <a:lnTo>
                  <a:pt x="695" y="1508"/>
                </a:lnTo>
                <a:lnTo>
                  <a:pt x="691" y="1508"/>
                </a:lnTo>
                <a:lnTo>
                  <a:pt x="693" y="1510"/>
                </a:lnTo>
                <a:lnTo>
                  <a:pt x="695" y="1510"/>
                </a:lnTo>
                <a:lnTo>
                  <a:pt x="695" y="1512"/>
                </a:lnTo>
                <a:lnTo>
                  <a:pt x="695" y="1515"/>
                </a:lnTo>
                <a:lnTo>
                  <a:pt x="688" y="1515"/>
                </a:lnTo>
                <a:lnTo>
                  <a:pt x="686" y="1512"/>
                </a:lnTo>
                <a:lnTo>
                  <a:pt x="684" y="1510"/>
                </a:lnTo>
                <a:lnTo>
                  <a:pt x="681" y="1522"/>
                </a:lnTo>
                <a:lnTo>
                  <a:pt x="679" y="1524"/>
                </a:lnTo>
                <a:lnTo>
                  <a:pt x="669" y="1520"/>
                </a:lnTo>
                <a:lnTo>
                  <a:pt x="665" y="1520"/>
                </a:lnTo>
                <a:lnTo>
                  <a:pt x="648" y="1524"/>
                </a:lnTo>
                <a:lnTo>
                  <a:pt x="643" y="1524"/>
                </a:lnTo>
                <a:lnTo>
                  <a:pt x="639" y="1524"/>
                </a:lnTo>
                <a:lnTo>
                  <a:pt x="634" y="1522"/>
                </a:lnTo>
                <a:lnTo>
                  <a:pt x="631" y="1520"/>
                </a:lnTo>
                <a:lnTo>
                  <a:pt x="631" y="1517"/>
                </a:lnTo>
                <a:lnTo>
                  <a:pt x="627" y="1508"/>
                </a:lnTo>
                <a:lnTo>
                  <a:pt x="624" y="1508"/>
                </a:lnTo>
                <a:lnTo>
                  <a:pt x="624" y="1505"/>
                </a:lnTo>
                <a:lnTo>
                  <a:pt x="622" y="1503"/>
                </a:lnTo>
                <a:lnTo>
                  <a:pt x="617" y="1503"/>
                </a:lnTo>
                <a:lnTo>
                  <a:pt x="617" y="1503"/>
                </a:lnTo>
                <a:lnTo>
                  <a:pt x="617" y="1503"/>
                </a:lnTo>
                <a:lnTo>
                  <a:pt x="617" y="1501"/>
                </a:lnTo>
                <a:lnTo>
                  <a:pt x="613" y="1498"/>
                </a:lnTo>
                <a:lnTo>
                  <a:pt x="617" y="1496"/>
                </a:lnTo>
                <a:lnTo>
                  <a:pt x="624" y="1496"/>
                </a:lnTo>
                <a:lnTo>
                  <a:pt x="629" y="1503"/>
                </a:lnTo>
                <a:lnTo>
                  <a:pt x="631" y="1503"/>
                </a:lnTo>
                <a:lnTo>
                  <a:pt x="634" y="1501"/>
                </a:lnTo>
                <a:lnTo>
                  <a:pt x="634" y="1501"/>
                </a:lnTo>
                <a:lnTo>
                  <a:pt x="636" y="1501"/>
                </a:lnTo>
                <a:lnTo>
                  <a:pt x="639" y="1505"/>
                </a:lnTo>
                <a:lnTo>
                  <a:pt x="639" y="1501"/>
                </a:lnTo>
                <a:lnTo>
                  <a:pt x="641" y="1496"/>
                </a:lnTo>
                <a:lnTo>
                  <a:pt x="646" y="1501"/>
                </a:lnTo>
                <a:lnTo>
                  <a:pt x="653" y="1503"/>
                </a:lnTo>
                <a:lnTo>
                  <a:pt x="660" y="1503"/>
                </a:lnTo>
                <a:lnTo>
                  <a:pt x="667" y="1498"/>
                </a:lnTo>
                <a:lnTo>
                  <a:pt x="665" y="1496"/>
                </a:lnTo>
                <a:lnTo>
                  <a:pt x="676" y="1482"/>
                </a:lnTo>
                <a:lnTo>
                  <a:pt x="679" y="1472"/>
                </a:lnTo>
                <a:lnTo>
                  <a:pt x="672" y="1465"/>
                </a:lnTo>
                <a:lnTo>
                  <a:pt x="672" y="1467"/>
                </a:lnTo>
                <a:lnTo>
                  <a:pt x="674" y="1470"/>
                </a:lnTo>
                <a:lnTo>
                  <a:pt x="674" y="1472"/>
                </a:lnTo>
                <a:lnTo>
                  <a:pt x="674" y="1475"/>
                </a:lnTo>
                <a:lnTo>
                  <a:pt x="669" y="1475"/>
                </a:lnTo>
                <a:lnTo>
                  <a:pt x="674" y="1479"/>
                </a:lnTo>
                <a:lnTo>
                  <a:pt x="672" y="1482"/>
                </a:lnTo>
                <a:lnTo>
                  <a:pt x="672" y="1482"/>
                </a:lnTo>
                <a:lnTo>
                  <a:pt x="667" y="1482"/>
                </a:lnTo>
                <a:lnTo>
                  <a:pt x="667" y="1479"/>
                </a:lnTo>
                <a:lnTo>
                  <a:pt x="653" y="1470"/>
                </a:lnTo>
                <a:lnTo>
                  <a:pt x="657" y="1470"/>
                </a:lnTo>
                <a:lnTo>
                  <a:pt x="665" y="1472"/>
                </a:lnTo>
                <a:lnTo>
                  <a:pt x="660" y="1467"/>
                </a:lnTo>
                <a:lnTo>
                  <a:pt x="657" y="1465"/>
                </a:lnTo>
                <a:lnTo>
                  <a:pt x="648" y="1463"/>
                </a:lnTo>
                <a:lnTo>
                  <a:pt x="653" y="1465"/>
                </a:lnTo>
                <a:lnTo>
                  <a:pt x="646" y="1470"/>
                </a:lnTo>
                <a:lnTo>
                  <a:pt x="631" y="1470"/>
                </a:lnTo>
                <a:lnTo>
                  <a:pt x="629" y="1472"/>
                </a:lnTo>
                <a:lnTo>
                  <a:pt x="627" y="1477"/>
                </a:lnTo>
                <a:lnTo>
                  <a:pt x="620" y="1479"/>
                </a:lnTo>
                <a:lnTo>
                  <a:pt x="610" y="1482"/>
                </a:lnTo>
                <a:lnTo>
                  <a:pt x="610" y="1479"/>
                </a:lnTo>
                <a:lnTo>
                  <a:pt x="613" y="1479"/>
                </a:lnTo>
                <a:lnTo>
                  <a:pt x="613" y="1477"/>
                </a:lnTo>
                <a:lnTo>
                  <a:pt x="608" y="1477"/>
                </a:lnTo>
                <a:lnTo>
                  <a:pt x="608" y="1477"/>
                </a:lnTo>
                <a:lnTo>
                  <a:pt x="605" y="1479"/>
                </a:lnTo>
                <a:lnTo>
                  <a:pt x="605" y="1479"/>
                </a:lnTo>
                <a:lnTo>
                  <a:pt x="603" y="1475"/>
                </a:lnTo>
                <a:lnTo>
                  <a:pt x="603" y="1470"/>
                </a:lnTo>
                <a:lnTo>
                  <a:pt x="605" y="1467"/>
                </a:lnTo>
                <a:lnTo>
                  <a:pt x="608" y="1465"/>
                </a:lnTo>
                <a:lnTo>
                  <a:pt x="603" y="1465"/>
                </a:lnTo>
                <a:lnTo>
                  <a:pt x="601" y="1463"/>
                </a:lnTo>
                <a:lnTo>
                  <a:pt x="598" y="1458"/>
                </a:lnTo>
                <a:lnTo>
                  <a:pt x="598" y="1453"/>
                </a:lnTo>
                <a:lnTo>
                  <a:pt x="596" y="1453"/>
                </a:lnTo>
                <a:lnTo>
                  <a:pt x="596" y="1456"/>
                </a:lnTo>
                <a:lnTo>
                  <a:pt x="596" y="1460"/>
                </a:lnTo>
                <a:lnTo>
                  <a:pt x="598" y="1465"/>
                </a:lnTo>
                <a:lnTo>
                  <a:pt x="596" y="1475"/>
                </a:lnTo>
                <a:lnTo>
                  <a:pt x="598" y="1479"/>
                </a:lnTo>
                <a:lnTo>
                  <a:pt x="601" y="1484"/>
                </a:lnTo>
                <a:lnTo>
                  <a:pt x="603" y="1489"/>
                </a:lnTo>
                <a:lnTo>
                  <a:pt x="605" y="1491"/>
                </a:lnTo>
                <a:lnTo>
                  <a:pt x="605" y="1494"/>
                </a:lnTo>
                <a:lnTo>
                  <a:pt x="605" y="1496"/>
                </a:lnTo>
                <a:lnTo>
                  <a:pt x="603" y="1496"/>
                </a:lnTo>
                <a:lnTo>
                  <a:pt x="603" y="1496"/>
                </a:lnTo>
                <a:lnTo>
                  <a:pt x="601" y="1491"/>
                </a:lnTo>
                <a:lnTo>
                  <a:pt x="598" y="1494"/>
                </a:lnTo>
                <a:lnTo>
                  <a:pt x="596" y="1489"/>
                </a:lnTo>
                <a:lnTo>
                  <a:pt x="594" y="1484"/>
                </a:lnTo>
                <a:lnTo>
                  <a:pt x="589" y="1482"/>
                </a:lnTo>
                <a:lnTo>
                  <a:pt x="591" y="1486"/>
                </a:lnTo>
                <a:lnTo>
                  <a:pt x="589" y="1489"/>
                </a:lnTo>
                <a:lnTo>
                  <a:pt x="587" y="1489"/>
                </a:lnTo>
                <a:lnTo>
                  <a:pt x="584" y="1484"/>
                </a:lnTo>
                <a:lnTo>
                  <a:pt x="584" y="1477"/>
                </a:lnTo>
                <a:lnTo>
                  <a:pt x="582" y="1477"/>
                </a:lnTo>
                <a:lnTo>
                  <a:pt x="582" y="1482"/>
                </a:lnTo>
                <a:lnTo>
                  <a:pt x="582" y="1486"/>
                </a:lnTo>
                <a:lnTo>
                  <a:pt x="579" y="1486"/>
                </a:lnTo>
                <a:lnTo>
                  <a:pt x="577" y="1486"/>
                </a:lnTo>
                <a:lnTo>
                  <a:pt x="575" y="1484"/>
                </a:lnTo>
                <a:lnTo>
                  <a:pt x="565" y="1489"/>
                </a:lnTo>
                <a:lnTo>
                  <a:pt x="560" y="1489"/>
                </a:lnTo>
                <a:lnTo>
                  <a:pt x="558" y="1486"/>
                </a:lnTo>
                <a:lnTo>
                  <a:pt x="558" y="1484"/>
                </a:lnTo>
                <a:lnTo>
                  <a:pt x="560" y="1484"/>
                </a:lnTo>
                <a:lnTo>
                  <a:pt x="558" y="1482"/>
                </a:lnTo>
                <a:lnTo>
                  <a:pt x="556" y="1479"/>
                </a:lnTo>
                <a:lnTo>
                  <a:pt x="551" y="1479"/>
                </a:lnTo>
                <a:lnTo>
                  <a:pt x="549" y="1484"/>
                </a:lnTo>
                <a:lnTo>
                  <a:pt x="551" y="1484"/>
                </a:lnTo>
                <a:lnTo>
                  <a:pt x="551" y="1486"/>
                </a:lnTo>
                <a:lnTo>
                  <a:pt x="553" y="1486"/>
                </a:lnTo>
                <a:lnTo>
                  <a:pt x="549" y="1501"/>
                </a:lnTo>
                <a:lnTo>
                  <a:pt x="551" y="1512"/>
                </a:lnTo>
                <a:lnTo>
                  <a:pt x="556" y="1522"/>
                </a:lnTo>
                <a:lnTo>
                  <a:pt x="560" y="1531"/>
                </a:lnTo>
                <a:lnTo>
                  <a:pt x="558" y="1529"/>
                </a:lnTo>
                <a:lnTo>
                  <a:pt x="551" y="1529"/>
                </a:lnTo>
                <a:lnTo>
                  <a:pt x="549" y="1529"/>
                </a:lnTo>
                <a:lnTo>
                  <a:pt x="546" y="1529"/>
                </a:lnTo>
                <a:lnTo>
                  <a:pt x="544" y="1517"/>
                </a:lnTo>
                <a:lnTo>
                  <a:pt x="544" y="1515"/>
                </a:lnTo>
                <a:lnTo>
                  <a:pt x="544" y="1510"/>
                </a:lnTo>
                <a:lnTo>
                  <a:pt x="549" y="1503"/>
                </a:lnTo>
                <a:lnTo>
                  <a:pt x="549" y="1496"/>
                </a:lnTo>
                <a:lnTo>
                  <a:pt x="549" y="1486"/>
                </a:lnTo>
                <a:lnTo>
                  <a:pt x="546" y="1479"/>
                </a:lnTo>
                <a:lnTo>
                  <a:pt x="544" y="1472"/>
                </a:lnTo>
                <a:lnTo>
                  <a:pt x="539" y="1467"/>
                </a:lnTo>
                <a:lnTo>
                  <a:pt x="537" y="1467"/>
                </a:lnTo>
                <a:lnTo>
                  <a:pt x="534" y="1465"/>
                </a:lnTo>
                <a:lnTo>
                  <a:pt x="532" y="1463"/>
                </a:lnTo>
                <a:lnTo>
                  <a:pt x="530" y="1460"/>
                </a:lnTo>
                <a:lnTo>
                  <a:pt x="532" y="1456"/>
                </a:lnTo>
                <a:lnTo>
                  <a:pt x="534" y="1444"/>
                </a:lnTo>
                <a:lnTo>
                  <a:pt x="558" y="1434"/>
                </a:lnTo>
                <a:lnTo>
                  <a:pt x="556" y="1432"/>
                </a:lnTo>
                <a:lnTo>
                  <a:pt x="556" y="1430"/>
                </a:lnTo>
                <a:lnTo>
                  <a:pt x="556" y="1427"/>
                </a:lnTo>
                <a:lnTo>
                  <a:pt x="556" y="1423"/>
                </a:lnTo>
                <a:lnTo>
                  <a:pt x="553" y="1423"/>
                </a:lnTo>
                <a:lnTo>
                  <a:pt x="551" y="1425"/>
                </a:lnTo>
                <a:lnTo>
                  <a:pt x="549" y="1425"/>
                </a:lnTo>
                <a:lnTo>
                  <a:pt x="549" y="1415"/>
                </a:lnTo>
                <a:lnTo>
                  <a:pt x="551" y="1413"/>
                </a:lnTo>
                <a:lnTo>
                  <a:pt x="549" y="1413"/>
                </a:lnTo>
                <a:lnTo>
                  <a:pt x="546" y="1418"/>
                </a:lnTo>
                <a:lnTo>
                  <a:pt x="542" y="1415"/>
                </a:lnTo>
                <a:lnTo>
                  <a:pt x="539" y="1413"/>
                </a:lnTo>
                <a:lnTo>
                  <a:pt x="534" y="1415"/>
                </a:lnTo>
                <a:lnTo>
                  <a:pt x="539" y="1418"/>
                </a:lnTo>
                <a:lnTo>
                  <a:pt x="542" y="1420"/>
                </a:lnTo>
                <a:lnTo>
                  <a:pt x="542" y="1425"/>
                </a:lnTo>
                <a:lnTo>
                  <a:pt x="544" y="1430"/>
                </a:lnTo>
                <a:lnTo>
                  <a:pt x="542" y="1430"/>
                </a:lnTo>
                <a:lnTo>
                  <a:pt x="542" y="1432"/>
                </a:lnTo>
                <a:lnTo>
                  <a:pt x="542" y="1432"/>
                </a:lnTo>
                <a:lnTo>
                  <a:pt x="542" y="1434"/>
                </a:lnTo>
                <a:lnTo>
                  <a:pt x="537" y="1430"/>
                </a:lnTo>
                <a:lnTo>
                  <a:pt x="537" y="1432"/>
                </a:lnTo>
                <a:lnTo>
                  <a:pt x="534" y="1434"/>
                </a:lnTo>
                <a:lnTo>
                  <a:pt x="530" y="1437"/>
                </a:lnTo>
                <a:lnTo>
                  <a:pt x="530" y="1437"/>
                </a:lnTo>
                <a:lnTo>
                  <a:pt x="532" y="1441"/>
                </a:lnTo>
                <a:lnTo>
                  <a:pt x="530" y="1444"/>
                </a:lnTo>
                <a:lnTo>
                  <a:pt x="527" y="1449"/>
                </a:lnTo>
                <a:lnTo>
                  <a:pt x="527" y="1451"/>
                </a:lnTo>
                <a:lnTo>
                  <a:pt x="523" y="1453"/>
                </a:lnTo>
                <a:lnTo>
                  <a:pt x="523" y="1451"/>
                </a:lnTo>
                <a:lnTo>
                  <a:pt x="513" y="1441"/>
                </a:lnTo>
                <a:lnTo>
                  <a:pt x="506" y="1439"/>
                </a:lnTo>
                <a:lnTo>
                  <a:pt x="494" y="1434"/>
                </a:lnTo>
                <a:lnTo>
                  <a:pt x="487" y="1434"/>
                </a:lnTo>
                <a:lnTo>
                  <a:pt x="492" y="1432"/>
                </a:lnTo>
                <a:lnTo>
                  <a:pt x="497" y="1432"/>
                </a:lnTo>
                <a:lnTo>
                  <a:pt x="508" y="1437"/>
                </a:lnTo>
                <a:lnTo>
                  <a:pt x="508" y="1434"/>
                </a:lnTo>
                <a:lnTo>
                  <a:pt x="504" y="1432"/>
                </a:lnTo>
                <a:lnTo>
                  <a:pt x="499" y="1430"/>
                </a:lnTo>
                <a:lnTo>
                  <a:pt x="487" y="1427"/>
                </a:lnTo>
                <a:lnTo>
                  <a:pt x="487" y="1425"/>
                </a:lnTo>
                <a:lnTo>
                  <a:pt x="489" y="1425"/>
                </a:lnTo>
                <a:lnTo>
                  <a:pt x="489" y="1425"/>
                </a:lnTo>
                <a:lnTo>
                  <a:pt x="489" y="1423"/>
                </a:lnTo>
                <a:lnTo>
                  <a:pt x="492" y="1418"/>
                </a:lnTo>
                <a:lnTo>
                  <a:pt x="492" y="1415"/>
                </a:lnTo>
                <a:lnTo>
                  <a:pt x="497" y="1418"/>
                </a:lnTo>
                <a:lnTo>
                  <a:pt x="499" y="1418"/>
                </a:lnTo>
                <a:lnTo>
                  <a:pt x="504" y="1408"/>
                </a:lnTo>
                <a:lnTo>
                  <a:pt x="506" y="1401"/>
                </a:lnTo>
                <a:lnTo>
                  <a:pt x="508" y="1399"/>
                </a:lnTo>
                <a:lnTo>
                  <a:pt x="508" y="1396"/>
                </a:lnTo>
                <a:lnTo>
                  <a:pt x="504" y="1404"/>
                </a:lnTo>
                <a:lnTo>
                  <a:pt x="494" y="1411"/>
                </a:lnTo>
                <a:lnTo>
                  <a:pt x="485" y="1415"/>
                </a:lnTo>
                <a:lnTo>
                  <a:pt x="480" y="1418"/>
                </a:lnTo>
                <a:lnTo>
                  <a:pt x="482" y="1418"/>
                </a:lnTo>
                <a:lnTo>
                  <a:pt x="482" y="1420"/>
                </a:lnTo>
                <a:lnTo>
                  <a:pt x="485" y="1423"/>
                </a:lnTo>
                <a:lnTo>
                  <a:pt x="485" y="1425"/>
                </a:lnTo>
                <a:lnTo>
                  <a:pt x="461" y="1430"/>
                </a:lnTo>
                <a:lnTo>
                  <a:pt x="456" y="1427"/>
                </a:lnTo>
                <a:lnTo>
                  <a:pt x="456" y="1425"/>
                </a:lnTo>
                <a:lnTo>
                  <a:pt x="447" y="1415"/>
                </a:lnTo>
                <a:lnTo>
                  <a:pt x="445" y="1406"/>
                </a:lnTo>
                <a:lnTo>
                  <a:pt x="440" y="1401"/>
                </a:lnTo>
                <a:lnTo>
                  <a:pt x="440" y="1399"/>
                </a:lnTo>
                <a:lnTo>
                  <a:pt x="440" y="1396"/>
                </a:lnTo>
                <a:lnTo>
                  <a:pt x="435" y="1399"/>
                </a:lnTo>
                <a:lnTo>
                  <a:pt x="430" y="1399"/>
                </a:lnTo>
                <a:lnTo>
                  <a:pt x="421" y="1396"/>
                </a:lnTo>
                <a:lnTo>
                  <a:pt x="414" y="1396"/>
                </a:lnTo>
                <a:lnTo>
                  <a:pt x="411" y="1396"/>
                </a:lnTo>
                <a:lnTo>
                  <a:pt x="409" y="1394"/>
                </a:lnTo>
                <a:lnTo>
                  <a:pt x="407" y="1389"/>
                </a:lnTo>
                <a:lnTo>
                  <a:pt x="404" y="1389"/>
                </a:lnTo>
                <a:lnTo>
                  <a:pt x="392" y="1389"/>
                </a:lnTo>
                <a:lnTo>
                  <a:pt x="388" y="1387"/>
                </a:lnTo>
                <a:lnTo>
                  <a:pt x="385" y="1382"/>
                </a:lnTo>
                <a:lnTo>
                  <a:pt x="383" y="1380"/>
                </a:lnTo>
                <a:lnTo>
                  <a:pt x="369" y="1387"/>
                </a:lnTo>
                <a:lnTo>
                  <a:pt x="364" y="1382"/>
                </a:lnTo>
                <a:lnTo>
                  <a:pt x="359" y="1382"/>
                </a:lnTo>
                <a:lnTo>
                  <a:pt x="352" y="1385"/>
                </a:lnTo>
                <a:lnTo>
                  <a:pt x="348" y="1382"/>
                </a:lnTo>
                <a:lnTo>
                  <a:pt x="345" y="1382"/>
                </a:lnTo>
                <a:lnTo>
                  <a:pt x="340" y="1370"/>
                </a:lnTo>
                <a:lnTo>
                  <a:pt x="340" y="1368"/>
                </a:lnTo>
                <a:lnTo>
                  <a:pt x="338" y="1368"/>
                </a:lnTo>
                <a:lnTo>
                  <a:pt x="336" y="1366"/>
                </a:lnTo>
                <a:lnTo>
                  <a:pt x="338" y="1361"/>
                </a:lnTo>
                <a:lnTo>
                  <a:pt x="336" y="1359"/>
                </a:lnTo>
                <a:lnTo>
                  <a:pt x="333" y="1359"/>
                </a:lnTo>
                <a:lnTo>
                  <a:pt x="331" y="1356"/>
                </a:lnTo>
                <a:lnTo>
                  <a:pt x="329" y="1352"/>
                </a:lnTo>
                <a:lnTo>
                  <a:pt x="324" y="1344"/>
                </a:lnTo>
                <a:lnTo>
                  <a:pt x="317" y="1340"/>
                </a:lnTo>
                <a:lnTo>
                  <a:pt x="310" y="1337"/>
                </a:lnTo>
                <a:lnTo>
                  <a:pt x="312" y="1347"/>
                </a:lnTo>
                <a:lnTo>
                  <a:pt x="310" y="1354"/>
                </a:lnTo>
                <a:lnTo>
                  <a:pt x="303" y="1359"/>
                </a:lnTo>
                <a:lnTo>
                  <a:pt x="298" y="1359"/>
                </a:lnTo>
                <a:lnTo>
                  <a:pt x="300" y="1359"/>
                </a:lnTo>
                <a:lnTo>
                  <a:pt x="303" y="1359"/>
                </a:lnTo>
                <a:lnTo>
                  <a:pt x="305" y="1356"/>
                </a:lnTo>
                <a:lnTo>
                  <a:pt x="305" y="1352"/>
                </a:lnTo>
                <a:lnTo>
                  <a:pt x="303" y="1354"/>
                </a:lnTo>
                <a:lnTo>
                  <a:pt x="298" y="1354"/>
                </a:lnTo>
                <a:lnTo>
                  <a:pt x="295" y="1354"/>
                </a:lnTo>
                <a:lnTo>
                  <a:pt x="295" y="1359"/>
                </a:lnTo>
                <a:lnTo>
                  <a:pt x="286" y="1352"/>
                </a:lnTo>
                <a:lnTo>
                  <a:pt x="284" y="1349"/>
                </a:lnTo>
                <a:lnTo>
                  <a:pt x="279" y="1349"/>
                </a:lnTo>
                <a:lnTo>
                  <a:pt x="277" y="1347"/>
                </a:lnTo>
                <a:lnTo>
                  <a:pt x="272" y="1342"/>
                </a:lnTo>
                <a:lnTo>
                  <a:pt x="269" y="1335"/>
                </a:lnTo>
                <a:lnTo>
                  <a:pt x="269" y="1328"/>
                </a:lnTo>
                <a:lnTo>
                  <a:pt x="265" y="1333"/>
                </a:lnTo>
                <a:lnTo>
                  <a:pt x="267" y="1337"/>
                </a:lnTo>
                <a:lnTo>
                  <a:pt x="272" y="1344"/>
                </a:lnTo>
                <a:lnTo>
                  <a:pt x="274" y="1349"/>
                </a:lnTo>
                <a:lnTo>
                  <a:pt x="274" y="1352"/>
                </a:lnTo>
                <a:lnTo>
                  <a:pt x="269" y="1352"/>
                </a:lnTo>
                <a:lnTo>
                  <a:pt x="267" y="1352"/>
                </a:lnTo>
                <a:lnTo>
                  <a:pt x="265" y="1354"/>
                </a:lnTo>
                <a:lnTo>
                  <a:pt x="262" y="1356"/>
                </a:lnTo>
                <a:lnTo>
                  <a:pt x="258" y="1347"/>
                </a:lnTo>
                <a:lnTo>
                  <a:pt x="253" y="1347"/>
                </a:lnTo>
                <a:lnTo>
                  <a:pt x="251" y="1352"/>
                </a:lnTo>
                <a:lnTo>
                  <a:pt x="255" y="1356"/>
                </a:lnTo>
                <a:lnTo>
                  <a:pt x="255" y="1356"/>
                </a:lnTo>
                <a:lnTo>
                  <a:pt x="253" y="1359"/>
                </a:lnTo>
                <a:lnTo>
                  <a:pt x="253" y="1361"/>
                </a:lnTo>
                <a:lnTo>
                  <a:pt x="262" y="1361"/>
                </a:lnTo>
                <a:lnTo>
                  <a:pt x="260" y="1366"/>
                </a:lnTo>
                <a:lnTo>
                  <a:pt x="251" y="1373"/>
                </a:lnTo>
                <a:lnTo>
                  <a:pt x="246" y="1375"/>
                </a:lnTo>
                <a:lnTo>
                  <a:pt x="239" y="1378"/>
                </a:lnTo>
                <a:lnTo>
                  <a:pt x="198" y="1373"/>
                </a:lnTo>
                <a:lnTo>
                  <a:pt x="198" y="1370"/>
                </a:lnTo>
                <a:lnTo>
                  <a:pt x="198" y="1363"/>
                </a:lnTo>
                <a:lnTo>
                  <a:pt x="198" y="1361"/>
                </a:lnTo>
                <a:lnTo>
                  <a:pt x="201" y="1361"/>
                </a:lnTo>
                <a:lnTo>
                  <a:pt x="203" y="1361"/>
                </a:lnTo>
                <a:lnTo>
                  <a:pt x="206" y="1361"/>
                </a:lnTo>
                <a:lnTo>
                  <a:pt x="206" y="1359"/>
                </a:lnTo>
                <a:lnTo>
                  <a:pt x="206" y="1349"/>
                </a:lnTo>
                <a:lnTo>
                  <a:pt x="203" y="1340"/>
                </a:lnTo>
                <a:lnTo>
                  <a:pt x="201" y="1328"/>
                </a:lnTo>
                <a:lnTo>
                  <a:pt x="196" y="1318"/>
                </a:lnTo>
                <a:lnTo>
                  <a:pt x="184" y="1299"/>
                </a:lnTo>
                <a:lnTo>
                  <a:pt x="161" y="1278"/>
                </a:lnTo>
                <a:lnTo>
                  <a:pt x="158" y="1278"/>
                </a:lnTo>
                <a:lnTo>
                  <a:pt x="154" y="1281"/>
                </a:lnTo>
                <a:lnTo>
                  <a:pt x="149" y="1283"/>
                </a:lnTo>
                <a:lnTo>
                  <a:pt x="146" y="1285"/>
                </a:lnTo>
                <a:lnTo>
                  <a:pt x="137" y="1276"/>
                </a:lnTo>
                <a:lnTo>
                  <a:pt x="132" y="1276"/>
                </a:lnTo>
                <a:lnTo>
                  <a:pt x="123" y="1276"/>
                </a:lnTo>
                <a:lnTo>
                  <a:pt x="101" y="1269"/>
                </a:lnTo>
                <a:lnTo>
                  <a:pt x="104" y="1266"/>
                </a:lnTo>
                <a:lnTo>
                  <a:pt x="106" y="1264"/>
                </a:lnTo>
                <a:lnTo>
                  <a:pt x="106" y="1262"/>
                </a:lnTo>
                <a:lnTo>
                  <a:pt x="109" y="1259"/>
                </a:lnTo>
                <a:lnTo>
                  <a:pt x="109" y="1257"/>
                </a:lnTo>
                <a:lnTo>
                  <a:pt x="109" y="1254"/>
                </a:lnTo>
                <a:lnTo>
                  <a:pt x="111" y="1254"/>
                </a:lnTo>
                <a:lnTo>
                  <a:pt x="111" y="1254"/>
                </a:lnTo>
                <a:lnTo>
                  <a:pt x="113" y="1257"/>
                </a:lnTo>
                <a:lnTo>
                  <a:pt x="116" y="1257"/>
                </a:lnTo>
                <a:lnTo>
                  <a:pt x="208" y="1243"/>
                </a:lnTo>
                <a:lnTo>
                  <a:pt x="225" y="1247"/>
                </a:lnTo>
                <a:lnTo>
                  <a:pt x="229" y="1245"/>
                </a:lnTo>
                <a:lnTo>
                  <a:pt x="229" y="1243"/>
                </a:lnTo>
                <a:lnTo>
                  <a:pt x="234" y="1231"/>
                </a:lnTo>
                <a:lnTo>
                  <a:pt x="232" y="1226"/>
                </a:lnTo>
                <a:lnTo>
                  <a:pt x="229" y="1221"/>
                </a:lnTo>
                <a:lnTo>
                  <a:pt x="227" y="1219"/>
                </a:lnTo>
                <a:lnTo>
                  <a:pt x="227" y="1210"/>
                </a:lnTo>
                <a:lnTo>
                  <a:pt x="225" y="1205"/>
                </a:lnTo>
                <a:lnTo>
                  <a:pt x="213" y="1200"/>
                </a:lnTo>
                <a:lnTo>
                  <a:pt x="210" y="1200"/>
                </a:lnTo>
                <a:lnTo>
                  <a:pt x="208" y="1198"/>
                </a:lnTo>
                <a:lnTo>
                  <a:pt x="206" y="1195"/>
                </a:lnTo>
                <a:lnTo>
                  <a:pt x="206" y="1193"/>
                </a:lnTo>
                <a:lnTo>
                  <a:pt x="198" y="1195"/>
                </a:lnTo>
                <a:lnTo>
                  <a:pt x="184" y="1183"/>
                </a:lnTo>
                <a:lnTo>
                  <a:pt x="177" y="1186"/>
                </a:lnTo>
                <a:lnTo>
                  <a:pt x="172" y="1193"/>
                </a:lnTo>
                <a:lnTo>
                  <a:pt x="168" y="1202"/>
                </a:lnTo>
                <a:lnTo>
                  <a:pt x="161" y="1210"/>
                </a:lnTo>
                <a:lnTo>
                  <a:pt x="154" y="1212"/>
                </a:lnTo>
                <a:lnTo>
                  <a:pt x="158" y="1205"/>
                </a:lnTo>
                <a:lnTo>
                  <a:pt x="158" y="1200"/>
                </a:lnTo>
                <a:lnTo>
                  <a:pt x="156" y="1195"/>
                </a:lnTo>
                <a:lnTo>
                  <a:pt x="154" y="1193"/>
                </a:lnTo>
                <a:lnTo>
                  <a:pt x="154" y="1188"/>
                </a:lnTo>
                <a:lnTo>
                  <a:pt x="156" y="1183"/>
                </a:lnTo>
                <a:lnTo>
                  <a:pt x="158" y="1181"/>
                </a:lnTo>
                <a:lnTo>
                  <a:pt x="158" y="1181"/>
                </a:lnTo>
                <a:lnTo>
                  <a:pt x="158" y="1176"/>
                </a:lnTo>
                <a:lnTo>
                  <a:pt x="154" y="1174"/>
                </a:lnTo>
                <a:lnTo>
                  <a:pt x="137" y="1174"/>
                </a:lnTo>
                <a:lnTo>
                  <a:pt x="137" y="1169"/>
                </a:lnTo>
                <a:lnTo>
                  <a:pt x="137" y="1165"/>
                </a:lnTo>
                <a:lnTo>
                  <a:pt x="142" y="1162"/>
                </a:lnTo>
                <a:lnTo>
                  <a:pt x="142" y="1165"/>
                </a:lnTo>
                <a:lnTo>
                  <a:pt x="144" y="1165"/>
                </a:lnTo>
                <a:lnTo>
                  <a:pt x="149" y="1165"/>
                </a:lnTo>
                <a:lnTo>
                  <a:pt x="151" y="1165"/>
                </a:lnTo>
                <a:lnTo>
                  <a:pt x="154" y="1162"/>
                </a:lnTo>
                <a:lnTo>
                  <a:pt x="151" y="1157"/>
                </a:lnTo>
                <a:lnTo>
                  <a:pt x="151" y="1157"/>
                </a:lnTo>
                <a:lnTo>
                  <a:pt x="158" y="1143"/>
                </a:lnTo>
                <a:lnTo>
                  <a:pt x="161" y="1141"/>
                </a:lnTo>
                <a:lnTo>
                  <a:pt x="165" y="1143"/>
                </a:lnTo>
                <a:lnTo>
                  <a:pt x="161" y="1157"/>
                </a:lnTo>
                <a:lnTo>
                  <a:pt x="170" y="1162"/>
                </a:lnTo>
                <a:lnTo>
                  <a:pt x="194" y="1162"/>
                </a:lnTo>
                <a:lnTo>
                  <a:pt x="196" y="1165"/>
                </a:lnTo>
                <a:lnTo>
                  <a:pt x="198" y="1167"/>
                </a:lnTo>
                <a:lnTo>
                  <a:pt x="201" y="1167"/>
                </a:lnTo>
                <a:lnTo>
                  <a:pt x="206" y="1169"/>
                </a:lnTo>
                <a:lnTo>
                  <a:pt x="208" y="1169"/>
                </a:lnTo>
                <a:lnTo>
                  <a:pt x="222" y="1165"/>
                </a:lnTo>
                <a:lnTo>
                  <a:pt x="241" y="1165"/>
                </a:lnTo>
                <a:lnTo>
                  <a:pt x="239" y="1167"/>
                </a:lnTo>
                <a:lnTo>
                  <a:pt x="236" y="1167"/>
                </a:lnTo>
                <a:lnTo>
                  <a:pt x="234" y="1167"/>
                </a:lnTo>
                <a:lnTo>
                  <a:pt x="239" y="1169"/>
                </a:lnTo>
                <a:lnTo>
                  <a:pt x="262" y="1167"/>
                </a:lnTo>
                <a:lnTo>
                  <a:pt x="262" y="1162"/>
                </a:lnTo>
                <a:lnTo>
                  <a:pt x="253" y="1162"/>
                </a:lnTo>
                <a:lnTo>
                  <a:pt x="251" y="1162"/>
                </a:lnTo>
                <a:lnTo>
                  <a:pt x="248" y="1155"/>
                </a:lnTo>
                <a:lnTo>
                  <a:pt x="246" y="1160"/>
                </a:lnTo>
                <a:lnTo>
                  <a:pt x="243" y="1160"/>
                </a:lnTo>
                <a:lnTo>
                  <a:pt x="239" y="1157"/>
                </a:lnTo>
                <a:lnTo>
                  <a:pt x="239" y="1155"/>
                </a:lnTo>
                <a:lnTo>
                  <a:pt x="236" y="1155"/>
                </a:lnTo>
                <a:lnTo>
                  <a:pt x="225" y="1155"/>
                </a:lnTo>
                <a:lnTo>
                  <a:pt x="227" y="1150"/>
                </a:lnTo>
                <a:lnTo>
                  <a:pt x="227" y="1150"/>
                </a:lnTo>
                <a:lnTo>
                  <a:pt x="229" y="1148"/>
                </a:lnTo>
                <a:lnTo>
                  <a:pt x="229" y="1148"/>
                </a:lnTo>
                <a:lnTo>
                  <a:pt x="232" y="1146"/>
                </a:lnTo>
                <a:lnTo>
                  <a:pt x="234" y="1143"/>
                </a:lnTo>
                <a:lnTo>
                  <a:pt x="241" y="1139"/>
                </a:lnTo>
                <a:lnTo>
                  <a:pt x="236" y="1139"/>
                </a:lnTo>
                <a:lnTo>
                  <a:pt x="229" y="1143"/>
                </a:lnTo>
                <a:lnTo>
                  <a:pt x="225" y="1143"/>
                </a:lnTo>
                <a:lnTo>
                  <a:pt x="225" y="1141"/>
                </a:lnTo>
                <a:lnTo>
                  <a:pt x="227" y="1141"/>
                </a:lnTo>
                <a:lnTo>
                  <a:pt x="227" y="1136"/>
                </a:lnTo>
                <a:lnTo>
                  <a:pt x="225" y="1136"/>
                </a:lnTo>
                <a:lnTo>
                  <a:pt x="225" y="1139"/>
                </a:lnTo>
                <a:lnTo>
                  <a:pt x="222" y="1141"/>
                </a:lnTo>
                <a:lnTo>
                  <a:pt x="220" y="1143"/>
                </a:lnTo>
                <a:lnTo>
                  <a:pt x="217" y="1141"/>
                </a:lnTo>
                <a:lnTo>
                  <a:pt x="208" y="1146"/>
                </a:lnTo>
                <a:lnTo>
                  <a:pt x="201" y="1148"/>
                </a:lnTo>
                <a:lnTo>
                  <a:pt x="201" y="1146"/>
                </a:lnTo>
                <a:lnTo>
                  <a:pt x="201" y="1146"/>
                </a:lnTo>
                <a:lnTo>
                  <a:pt x="203" y="1146"/>
                </a:lnTo>
                <a:lnTo>
                  <a:pt x="201" y="1141"/>
                </a:lnTo>
                <a:lnTo>
                  <a:pt x="198" y="1143"/>
                </a:lnTo>
                <a:lnTo>
                  <a:pt x="196" y="1146"/>
                </a:lnTo>
                <a:lnTo>
                  <a:pt x="191" y="1146"/>
                </a:lnTo>
                <a:lnTo>
                  <a:pt x="187" y="1148"/>
                </a:lnTo>
                <a:lnTo>
                  <a:pt x="187" y="1143"/>
                </a:lnTo>
                <a:lnTo>
                  <a:pt x="206" y="1124"/>
                </a:lnTo>
                <a:lnTo>
                  <a:pt x="208" y="1122"/>
                </a:lnTo>
                <a:lnTo>
                  <a:pt x="236" y="1108"/>
                </a:lnTo>
                <a:lnTo>
                  <a:pt x="232" y="1110"/>
                </a:lnTo>
                <a:lnTo>
                  <a:pt x="222" y="1115"/>
                </a:lnTo>
                <a:lnTo>
                  <a:pt x="215" y="1117"/>
                </a:lnTo>
                <a:lnTo>
                  <a:pt x="196" y="1117"/>
                </a:lnTo>
                <a:lnTo>
                  <a:pt x="189" y="1122"/>
                </a:lnTo>
                <a:lnTo>
                  <a:pt x="170" y="1131"/>
                </a:lnTo>
                <a:lnTo>
                  <a:pt x="156" y="1134"/>
                </a:lnTo>
                <a:lnTo>
                  <a:pt x="146" y="1139"/>
                </a:lnTo>
                <a:lnTo>
                  <a:pt x="142" y="1139"/>
                </a:lnTo>
                <a:lnTo>
                  <a:pt x="137" y="1136"/>
                </a:lnTo>
                <a:lnTo>
                  <a:pt x="127" y="1134"/>
                </a:lnTo>
                <a:lnTo>
                  <a:pt x="120" y="1131"/>
                </a:lnTo>
                <a:lnTo>
                  <a:pt x="120" y="1134"/>
                </a:lnTo>
                <a:lnTo>
                  <a:pt x="120" y="1136"/>
                </a:lnTo>
                <a:lnTo>
                  <a:pt x="118" y="1139"/>
                </a:lnTo>
                <a:lnTo>
                  <a:pt x="116" y="1141"/>
                </a:lnTo>
                <a:lnTo>
                  <a:pt x="101" y="1139"/>
                </a:lnTo>
                <a:lnTo>
                  <a:pt x="99" y="1139"/>
                </a:lnTo>
                <a:lnTo>
                  <a:pt x="97" y="1134"/>
                </a:lnTo>
                <a:lnTo>
                  <a:pt x="94" y="1124"/>
                </a:lnTo>
                <a:lnTo>
                  <a:pt x="101" y="1124"/>
                </a:lnTo>
                <a:lnTo>
                  <a:pt x="101" y="1117"/>
                </a:lnTo>
                <a:lnTo>
                  <a:pt x="97" y="1108"/>
                </a:lnTo>
                <a:lnTo>
                  <a:pt x="97" y="1098"/>
                </a:lnTo>
                <a:lnTo>
                  <a:pt x="99" y="1091"/>
                </a:lnTo>
                <a:lnTo>
                  <a:pt x="101" y="1084"/>
                </a:lnTo>
                <a:lnTo>
                  <a:pt x="109" y="1084"/>
                </a:lnTo>
                <a:lnTo>
                  <a:pt x="109" y="1082"/>
                </a:lnTo>
                <a:lnTo>
                  <a:pt x="101" y="1075"/>
                </a:lnTo>
                <a:lnTo>
                  <a:pt x="104" y="1063"/>
                </a:lnTo>
                <a:lnTo>
                  <a:pt x="113" y="1051"/>
                </a:lnTo>
                <a:lnTo>
                  <a:pt x="118" y="1044"/>
                </a:lnTo>
                <a:lnTo>
                  <a:pt x="120" y="1046"/>
                </a:lnTo>
                <a:lnTo>
                  <a:pt x="123" y="1046"/>
                </a:lnTo>
                <a:lnTo>
                  <a:pt x="120" y="1044"/>
                </a:lnTo>
                <a:lnTo>
                  <a:pt x="125" y="1041"/>
                </a:lnTo>
                <a:lnTo>
                  <a:pt x="132" y="1039"/>
                </a:lnTo>
                <a:lnTo>
                  <a:pt x="139" y="1039"/>
                </a:lnTo>
                <a:lnTo>
                  <a:pt x="146" y="1041"/>
                </a:lnTo>
                <a:lnTo>
                  <a:pt x="156" y="1046"/>
                </a:lnTo>
                <a:lnTo>
                  <a:pt x="158" y="1046"/>
                </a:lnTo>
                <a:lnTo>
                  <a:pt x="154" y="1037"/>
                </a:lnTo>
                <a:lnTo>
                  <a:pt x="151" y="1030"/>
                </a:lnTo>
                <a:lnTo>
                  <a:pt x="154" y="1027"/>
                </a:lnTo>
                <a:lnTo>
                  <a:pt x="168" y="1032"/>
                </a:lnTo>
                <a:lnTo>
                  <a:pt x="172" y="1032"/>
                </a:lnTo>
                <a:lnTo>
                  <a:pt x="165" y="1030"/>
                </a:lnTo>
                <a:lnTo>
                  <a:pt x="165" y="1027"/>
                </a:lnTo>
                <a:lnTo>
                  <a:pt x="168" y="1025"/>
                </a:lnTo>
                <a:lnTo>
                  <a:pt x="165" y="1025"/>
                </a:lnTo>
                <a:lnTo>
                  <a:pt x="163" y="1023"/>
                </a:lnTo>
                <a:lnTo>
                  <a:pt x="163" y="1020"/>
                </a:lnTo>
                <a:lnTo>
                  <a:pt x="187" y="1020"/>
                </a:lnTo>
                <a:lnTo>
                  <a:pt x="191" y="1020"/>
                </a:lnTo>
                <a:lnTo>
                  <a:pt x="201" y="1015"/>
                </a:lnTo>
                <a:lnTo>
                  <a:pt x="208" y="1015"/>
                </a:lnTo>
                <a:lnTo>
                  <a:pt x="206" y="1013"/>
                </a:lnTo>
                <a:lnTo>
                  <a:pt x="203" y="1013"/>
                </a:lnTo>
                <a:lnTo>
                  <a:pt x="203" y="1011"/>
                </a:lnTo>
                <a:lnTo>
                  <a:pt x="210" y="1008"/>
                </a:lnTo>
                <a:lnTo>
                  <a:pt x="220" y="1006"/>
                </a:lnTo>
                <a:lnTo>
                  <a:pt x="227" y="1001"/>
                </a:lnTo>
                <a:lnTo>
                  <a:pt x="234" y="1004"/>
                </a:lnTo>
                <a:lnTo>
                  <a:pt x="239" y="1008"/>
                </a:lnTo>
                <a:lnTo>
                  <a:pt x="236" y="1018"/>
                </a:lnTo>
                <a:lnTo>
                  <a:pt x="243" y="1018"/>
                </a:lnTo>
                <a:lnTo>
                  <a:pt x="253" y="1013"/>
                </a:lnTo>
                <a:lnTo>
                  <a:pt x="255" y="1013"/>
                </a:lnTo>
                <a:lnTo>
                  <a:pt x="258" y="1013"/>
                </a:lnTo>
                <a:lnTo>
                  <a:pt x="265" y="1015"/>
                </a:lnTo>
                <a:lnTo>
                  <a:pt x="269" y="1018"/>
                </a:lnTo>
                <a:lnTo>
                  <a:pt x="269" y="1013"/>
                </a:lnTo>
                <a:lnTo>
                  <a:pt x="262" y="1011"/>
                </a:lnTo>
                <a:lnTo>
                  <a:pt x="265" y="1008"/>
                </a:lnTo>
                <a:lnTo>
                  <a:pt x="269" y="1004"/>
                </a:lnTo>
                <a:lnTo>
                  <a:pt x="274" y="999"/>
                </a:lnTo>
                <a:lnTo>
                  <a:pt x="281" y="996"/>
                </a:lnTo>
                <a:lnTo>
                  <a:pt x="286" y="996"/>
                </a:lnTo>
                <a:lnTo>
                  <a:pt x="293" y="996"/>
                </a:lnTo>
                <a:lnTo>
                  <a:pt x="298" y="1001"/>
                </a:lnTo>
                <a:lnTo>
                  <a:pt x="300" y="999"/>
                </a:lnTo>
                <a:lnTo>
                  <a:pt x="303" y="999"/>
                </a:lnTo>
                <a:lnTo>
                  <a:pt x="303" y="1001"/>
                </a:lnTo>
                <a:lnTo>
                  <a:pt x="305" y="1004"/>
                </a:lnTo>
                <a:lnTo>
                  <a:pt x="305" y="1004"/>
                </a:lnTo>
                <a:lnTo>
                  <a:pt x="307" y="1001"/>
                </a:lnTo>
                <a:lnTo>
                  <a:pt x="310" y="999"/>
                </a:lnTo>
                <a:lnTo>
                  <a:pt x="310" y="996"/>
                </a:lnTo>
                <a:lnTo>
                  <a:pt x="307" y="992"/>
                </a:lnTo>
                <a:lnTo>
                  <a:pt x="312" y="992"/>
                </a:lnTo>
                <a:lnTo>
                  <a:pt x="317" y="989"/>
                </a:lnTo>
                <a:lnTo>
                  <a:pt x="322" y="987"/>
                </a:lnTo>
                <a:lnTo>
                  <a:pt x="333" y="985"/>
                </a:lnTo>
                <a:lnTo>
                  <a:pt x="333" y="987"/>
                </a:lnTo>
                <a:lnTo>
                  <a:pt x="333" y="989"/>
                </a:lnTo>
                <a:lnTo>
                  <a:pt x="331" y="994"/>
                </a:lnTo>
                <a:lnTo>
                  <a:pt x="331" y="996"/>
                </a:lnTo>
                <a:lnTo>
                  <a:pt x="336" y="996"/>
                </a:lnTo>
                <a:lnTo>
                  <a:pt x="336" y="999"/>
                </a:lnTo>
                <a:lnTo>
                  <a:pt x="333" y="999"/>
                </a:lnTo>
                <a:lnTo>
                  <a:pt x="333" y="1004"/>
                </a:lnTo>
                <a:lnTo>
                  <a:pt x="336" y="1004"/>
                </a:lnTo>
                <a:lnTo>
                  <a:pt x="338" y="1008"/>
                </a:lnTo>
                <a:lnTo>
                  <a:pt x="338" y="1013"/>
                </a:lnTo>
                <a:lnTo>
                  <a:pt x="336" y="1018"/>
                </a:lnTo>
                <a:lnTo>
                  <a:pt x="345" y="1008"/>
                </a:lnTo>
                <a:lnTo>
                  <a:pt x="348" y="1008"/>
                </a:lnTo>
                <a:lnTo>
                  <a:pt x="355" y="1008"/>
                </a:lnTo>
                <a:lnTo>
                  <a:pt x="352" y="1011"/>
                </a:lnTo>
                <a:lnTo>
                  <a:pt x="350" y="1013"/>
                </a:lnTo>
                <a:lnTo>
                  <a:pt x="350" y="1015"/>
                </a:lnTo>
                <a:lnTo>
                  <a:pt x="352" y="1020"/>
                </a:lnTo>
                <a:lnTo>
                  <a:pt x="362" y="1025"/>
                </a:lnTo>
                <a:lnTo>
                  <a:pt x="364" y="1030"/>
                </a:lnTo>
                <a:lnTo>
                  <a:pt x="366" y="1027"/>
                </a:lnTo>
                <a:lnTo>
                  <a:pt x="364" y="1025"/>
                </a:lnTo>
                <a:lnTo>
                  <a:pt x="366" y="1023"/>
                </a:lnTo>
                <a:lnTo>
                  <a:pt x="366" y="1018"/>
                </a:lnTo>
                <a:lnTo>
                  <a:pt x="364" y="1015"/>
                </a:lnTo>
                <a:lnTo>
                  <a:pt x="364" y="1006"/>
                </a:lnTo>
                <a:lnTo>
                  <a:pt x="366" y="1006"/>
                </a:lnTo>
                <a:lnTo>
                  <a:pt x="366" y="1008"/>
                </a:lnTo>
                <a:lnTo>
                  <a:pt x="366" y="1011"/>
                </a:lnTo>
                <a:lnTo>
                  <a:pt x="369" y="1013"/>
                </a:lnTo>
                <a:lnTo>
                  <a:pt x="369" y="1006"/>
                </a:lnTo>
                <a:lnTo>
                  <a:pt x="371" y="996"/>
                </a:lnTo>
                <a:lnTo>
                  <a:pt x="374" y="992"/>
                </a:lnTo>
                <a:lnTo>
                  <a:pt x="376" y="996"/>
                </a:lnTo>
                <a:lnTo>
                  <a:pt x="378" y="994"/>
                </a:lnTo>
                <a:lnTo>
                  <a:pt x="378" y="992"/>
                </a:lnTo>
                <a:lnTo>
                  <a:pt x="378" y="989"/>
                </a:lnTo>
                <a:lnTo>
                  <a:pt x="378" y="987"/>
                </a:lnTo>
                <a:lnTo>
                  <a:pt x="381" y="992"/>
                </a:lnTo>
                <a:lnTo>
                  <a:pt x="388" y="994"/>
                </a:lnTo>
                <a:lnTo>
                  <a:pt x="400" y="994"/>
                </a:lnTo>
                <a:lnTo>
                  <a:pt x="402" y="994"/>
                </a:lnTo>
                <a:lnTo>
                  <a:pt x="409" y="1001"/>
                </a:lnTo>
                <a:lnTo>
                  <a:pt x="411" y="1004"/>
                </a:lnTo>
                <a:lnTo>
                  <a:pt x="416" y="1004"/>
                </a:lnTo>
                <a:lnTo>
                  <a:pt x="426" y="1001"/>
                </a:lnTo>
                <a:lnTo>
                  <a:pt x="426" y="1008"/>
                </a:lnTo>
                <a:lnTo>
                  <a:pt x="433" y="1011"/>
                </a:lnTo>
                <a:lnTo>
                  <a:pt x="440" y="1011"/>
                </a:lnTo>
                <a:lnTo>
                  <a:pt x="445" y="1008"/>
                </a:lnTo>
                <a:lnTo>
                  <a:pt x="442" y="999"/>
                </a:lnTo>
                <a:lnTo>
                  <a:pt x="442" y="992"/>
                </a:lnTo>
                <a:lnTo>
                  <a:pt x="442" y="989"/>
                </a:lnTo>
                <a:lnTo>
                  <a:pt x="459" y="987"/>
                </a:lnTo>
                <a:lnTo>
                  <a:pt x="454" y="985"/>
                </a:lnTo>
                <a:lnTo>
                  <a:pt x="445" y="973"/>
                </a:lnTo>
                <a:lnTo>
                  <a:pt x="445" y="966"/>
                </a:lnTo>
                <a:lnTo>
                  <a:pt x="447" y="961"/>
                </a:lnTo>
                <a:lnTo>
                  <a:pt x="454" y="959"/>
                </a:lnTo>
                <a:lnTo>
                  <a:pt x="461" y="947"/>
                </a:lnTo>
                <a:lnTo>
                  <a:pt x="463" y="944"/>
                </a:lnTo>
                <a:lnTo>
                  <a:pt x="466" y="944"/>
                </a:lnTo>
                <a:lnTo>
                  <a:pt x="468" y="947"/>
                </a:lnTo>
                <a:lnTo>
                  <a:pt x="475" y="947"/>
                </a:lnTo>
                <a:lnTo>
                  <a:pt x="485" y="954"/>
                </a:lnTo>
                <a:lnTo>
                  <a:pt x="489" y="954"/>
                </a:lnTo>
                <a:lnTo>
                  <a:pt x="487" y="956"/>
                </a:lnTo>
                <a:lnTo>
                  <a:pt x="487" y="956"/>
                </a:lnTo>
                <a:lnTo>
                  <a:pt x="487" y="959"/>
                </a:lnTo>
                <a:lnTo>
                  <a:pt x="485" y="959"/>
                </a:lnTo>
                <a:lnTo>
                  <a:pt x="492" y="961"/>
                </a:lnTo>
                <a:lnTo>
                  <a:pt x="497" y="961"/>
                </a:lnTo>
                <a:lnTo>
                  <a:pt x="499" y="959"/>
                </a:lnTo>
                <a:lnTo>
                  <a:pt x="501" y="956"/>
                </a:lnTo>
                <a:lnTo>
                  <a:pt x="504" y="954"/>
                </a:lnTo>
                <a:lnTo>
                  <a:pt x="527" y="947"/>
                </a:lnTo>
                <a:lnTo>
                  <a:pt x="530" y="944"/>
                </a:lnTo>
                <a:lnTo>
                  <a:pt x="532" y="944"/>
                </a:lnTo>
                <a:lnTo>
                  <a:pt x="534" y="944"/>
                </a:lnTo>
                <a:lnTo>
                  <a:pt x="544" y="935"/>
                </a:lnTo>
                <a:lnTo>
                  <a:pt x="549" y="935"/>
                </a:lnTo>
                <a:lnTo>
                  <a:pt x="551" y="942"/>
                </a:lnTo>
                <a:lnTo>
                  <a:pt x="549" y="949"/>
                </a:lnTo>
                <a:lnTo>
                  <a:pt x="546" y="959"/>
                </a:lnTo>
                <a:lnTo>
                  <a:pt x="544" y="961"/>
                </a:lnTo>
                <a:lnTo>
                  <a:pt x="544" y="963"/>
                </a:lnTo>
                <a:lnTo>
                  <a:pt x="544" y="966"/>
                </a:lnTo>
                <a:lnTo>
                  <a:pt x="546" y="968"/>
                </a:lnTo>
                <a:lnTo>
                  <a:pt x="546" y="963"/>
                </a:lnTo>
                <a:lnTo>
                  <a:pt x="549" y="959"/>
                </a:lnTo>
                <a:lnTo>
                  <a:pt x="558" y="949"/>
                </a:lnTo>
                <a:lnTo>
                  <a:pt x="565" y="942"/>
                </a:lnTo>
                <a:lnTo>
                  <a:pt x="568" y="940"/>
                </a:lnTo>
                <a:lnTo>
                  <a:pt x="570" y="942"/>
                </a:lnTo>
                <a:lnTo>
                  <a:pt x="575" y="935"/>
                </a:lnTo>
                <a:lnTo>
                  <a:pt x="579" y="935"/>
                </a:lnTo>
                <a:lnTo>
                  <a:pt x="582" y="937"/>
                </a:lnTo>
                <a:lnTo>
                  <a:pt x="584" y="940"/>
                </a:lnTo>
                <a:lnTo>
                  <a:pt x="584" y="944"/>
                </a:lnTo>
                <a:lnTo>
                  <a:pt x="582" y="949"/>
                </a:lnTo>
                <a:lnTo>
                  <a:pt x="582" y="952"/>
                </a:lnTo>
                <a:lnTo>
                  <a:pt x="587" y="954"/>
                </a:lnTo>
                <a:lnTo>
                  <a:pt x="584" y="959"/>
                </a:lnTo>
                <a:lnTo>
                  <a:pt x="579" y="968"/>
                </a:lnTo>
                <a:lnTo>
                  <a:pt x="577" y="973"/>
                </a:lnTo>
                <a:lnTo>
                  <a:pt x="572" y="980"/>
                </a:lnTo>
                <a:lnTo>
                  <a:pt x="572" y="985"/>
                </a:lnTo>
                <a:lnTo>
                  <a:pt x="572" y="985"/>
                </a:lnTo>
                <a:lnTo>
                  <a:pt x="584" y="966"/>
                </a:lnTo>
                <a:lnTo>
                  <a:pt x="589" y="956"/>
                </a:lnTo>
                <a:lnTo>
                  <a:pt x="594" y="959"/>
                </a:lnTo>
                <a:lnTo>
                  <a:pt x="596" y="956"/>
                </a:lnTo>
                <a:lnTo>
                  <a:pt x="601" y="956"/>
                </a:lnTo>
                <a:lnTo>
                  <a:pt x="603" y="956"/>
                </a:lnTo>
                <a:lnTo>
                  <a:pt x="605" y="959"/>
                </a:lnTo>
                <a:lnTo>
                  <a:pt x="603" y="961"/>
                </a:lnTo>
                <a:lnTo>
                  <a:pt x="603" y="961"/>
                </a:lnTo>
                <a:lnTo>
                  <a:pt x="605" y="961"/>
                </a:lnTo>
                <a:lnTo>
                  <a:pt x="605" y="963"/>
                </a:lnTo>
                <a:lnTo>
                  <a:pt x="605" y="963"/>
                </a:lnTo>
                <a:lnTo>
                  <a:pt x="603" y="966"/>
                </a:lnTo>
                <a:lnTo>
                  <a:pt x="601" y="966"/>
                </a:lnTo>
                <a:lnTo>
                  <a:pt x="596" y="970"/>
                </a:lnTo>
                <a:lnTo>
                  <a:pt x="596" y="973"/>
                </a:lnTo>
                <a:lnTo>
                  <a:pt x="598" y="973"/>
                </a:lnTo>
                <a:lnTo>
                  <a:pt x="598" y="975"/>
                </a:lnTo>
                <a:lnTo>
                  <a:pt x="605" y="980"/>
                </a:lnTo>
                <a:lnTo>
                  <a:pt x="620" y="980"/>
                </a:lnTo>
                <a:lnTo>
                  <a:pt x="624" y="982"/>
                </a:lnTo>
                <a:lnTo>
                  <a:pt x="624" y="987"/>
                </a:lnTo>
                <a:lnTo>
                  <a:pt x="624" y="989"/>
                </a:lnTo>
                <a:lnTo>
                  <a:pt x="624" y="992"/>
                </a:lnTo>
                <a:lnTo>
                  <a:pt x="622" y="994"/>
                </a:lnTo>
                <a:lnTo>
                  <a:pt x="622" y="994"/>
                </a:lnTo>
                <a:lnTo>
                  <a:pt x="622" y="996"/>
                </a:lnTo>
                <a:lnTo>
                  <a:pt x="624" y="999"/>
                </a:lnTo>
                <a:lnTo>
                  <a:pt x="629" y="1004"/>
                </a:lnTo>
                <a:lnTo>
                  <a:pt x="634" y="1008"/>
                </a:lnTo>
                <a:lnTo>
                  <a:pt x="636" y="1013"/>
                </a:lnTo>
                <a:lnTo>
                  <a:pt x="653" y="1030"/>
                </a:lnTo>
                <a:lnTo>
                  <a:pt x="655" y="1044"/>
                </a:lnTo>
                <a:lnTo>
                  <a:pt x="657" y="1046"/>
                </a:lnTo>
                <a:lnTo>
                  <a:pt x="657" y="1049"/>
                </a:lnTo>
                <a:lnTo>
                  <a:pt x="657" y="1051"/>
                </a:lnTo>
                <a:lnTo>
                  <a:pt x="655" y="1053"/>
                </a:lnTo>
                <a:lnTo>
                  <a:pt x="657" y="1056"/>
                </a:lnTo>
                <a:lnTo>
                  <a:pt x="657" y="1058"/>
                </a:lnTo>
                <a:lnTo>
                  <a:pt x="662" y="1058"/>
                </a:lnTo>
                <a:lnTo>
                  <a:pt x="669" y="1065"/>
                </a:lnTo>
                <a:lnTo>
                  <a:pt x="684" y="1072"/>
                </a:lnTo>
                <a:lnTo>
                  <a:pt x="684" y="1077"/>
                </a:lnTo>
                <a:lnTo>
                  <a:pt x="681" y="1079"/>
                </a:lnTo>
                <a:lnTo>
                  <a:pt x="681" y="1082"/>
                </a:lnTo>
                <a:lnTo>
                  <a:pt x="679" y="1084"/>
                </a:lnTo>
                <a:lnTo>
                  <a:pt x="681" y="1084"/>
                </a:lnTo>
                <a:lnTo>
                  <a:pt x="684" y="1086"/>
                </a:lnTo>
                <a:lnTo>
                  <a:pt x="686" y="1089"/>
                </a:lnTo>
                <a:lnTo>
                  <a:pt x="688" y="1091"/>
                </a:lnTo>
                <a:lnTo>
                  <a:pt x="693" y="1096"/>
                </a:lnTo>
                <a:lnTo>
                  <a:pt x="693" y="1091"/>
                </a:lnTo>
                <a:lnTo>
                  <a:pt x="693" y="1084"/>
                </a:lnTo>
                <a:lnTo>
                  <a:pt x="695" y="1082"/>
                </a:lnTo>
                <a:lnTo>
                  <a:pt x="705" y="1082"/>
                </a:lnTo>
                <a:lnTo>
                  <a:pt x="710" y="1082"/>
                </a:lnTo>
                <a:lnTo>
                  <a:pt x="717" y="1075"/>
                </a:lnTo>
                <a:lnTo>
                  <a:pt x="724" y="1065"/>
                </a:lnTo>
                <a:lnTo>
                  <a:pt x="726" y="1063"/>
                </a:lnTo>
                <a:lnTo>
                  <a:pt x="728" y="1060"/>
                </a:lnTo>
                <a:lnTo>
                  <a:pt x="733" y="1058"/>
                </a:lnTo>
                <a:lnTo>
                  <a:pt x="752" y="1046"/>
                </a:lnTo>
                <a:lnTo>
                  <a:pt x="757" y="1041"/>
                </a:lnTo>
                <a:lnTo>
                  <a:pt x="757" y="1039"/>
                </a:lnTo>
                <a:lnTo>
                  <a:pt x="754" y="1039"/>
                </a:lnTo>
                <a:lnTo>
                  <a:pt x="750" y="1037"/>
                </a:lnTo>
                <a:lnTo>
                  <a:pt x="762" y="1032"/>
                </a:lnTo>
                <a:lnTo>
                  <a:pt x="769" y="1034"/>
                </a:lnTo>
                <a:lnTo>
                  <a:pt x="771" y="1039"/>
                </a:lnTo>
                <a:lnTo>
                  <a:pt x="778" y="1037"/>
                </a:lnTo>
                <a:lnTo>
                  <a:pt x="788" y="1032"/>
                </a:lnTo>
                <a:lnTo>
                  <a:pt x="795" y="1025"/>
                </a:lnTo>
                <a:lnTo>
                  <a:pt x="797" y="1018"/>
                </a:lnTo>
                <a:lnTo>
                  <a:pt x="799" y="1023"/>
                </a:lnTo>
                <a:lnTo>
                  <a:pt x="802" y="1025"/>
                </a:lnTo>
                <a:lnTo>
                  <a:pt x="804" y="1027"/>
                </a:lnTo>
                <a:lnTo>
                  <a:pt x="807" y="1027"/>
                </a:lnTo>
                <a:lnTo>
                  <a:pt x="807" y="1030"/>
                </a:lnTo>
                <a:lnTo>
                  <a:pt x="804" y="1032"/>
                </a:lnTo>
                <a:lnTo>
                  <a:pt x="804" y="1034"/>
                </a:lnTo>
                <a:lnTo>
                  <a:pt x="802" y="1037"/>
                </a:lnTo>
                <a:lnTo>
                  <a:pt x="802" y="1039"/>
                </a:lnTo>
                <a:lnTo>
                  <a:pt x="792" y="1046"/>
                </a:lnTo>
                <a:lnTo>
                  <a:pt x="797" y="1051"/>
                </a:lnTo>
                <a:lnTo>
                  <a:pt x="804" y="1046"/>
                </a:lnTo>
                <a:lnTo>
                  <a:pt x="809" y="1041"/>
                </a:lnTo>
                <a:lnTo>
                  <a:pt x="816" y="1039"/>
                </a:lnTo>
                <a:lnTo>
                  <a:pt x="818" y="1041"/>
                </a:lnTo>
                <a:lnTo>
                  <a:pt x="818" y="1051"/>
                </a:lnTo>
                <a:lnTo>
                  <a:pt x="818" y="1053"/>
                </a:lnTo>
                <a:lnTo>
                  <a:pt x="823" y="1056"/>
                </a:lnTo>
                <a:lnTo>
                  <a:pt x="825" y="1058"/>
                </a:lnTo>
                <a:lnTo>
                  <a:pt x="825" y="1063"/>
                </a:lnTo>
                <a:lnTo>
                  <a:pt x="825" y="1067"/>
                </a:lnTo>
                <a:lnTo>
                  <a:pt x="828" y="1065"/>
                </a:lnTo>
                <a:lnTo>
                  <a:pt x="830" y="1063"/>
                </a:lnTo>
                <a:lnTo>
                  <a:pt x="833" y="1058"/>
                </a:lnTo>
                <a:lnTo>
                  <a:pt x="833" y="1053"/>
                </a:lnTo>
                <a:lnTo>
                  <a:pt x="833" y="1060"/>
                </a:lnTo>
                <a:lnTo>
                  <a:pt x="835" y="1065"/>
                </a:lnTo>
                <a:lnTo>
                  <a:pt x="837" y="1067"/>
                </a:lnTo>
                <a:lnTo>
                  <a:pt x="842" y="1065"/>
                </a:lnTo>
                <a:lnTo>
                  <a:pt x="842" y="1063"/>
                </a:lnTo>
                <a:lnTo>
                  <a:pt x="840" y="1063"/>
                </a:lnTo>
                <a:lnTo>
                  <a:pt x="837" y="1060"/>
                </a:lnTo>
                <a:lnTo>
                  <a:pt x="842" y="1056"/>
                </a:lnTo>
                <a:lnTo>
                  <a:pt x="844" y="1053"/>
                </a:lnTo>
                <a:lnTo>
                  <a:pt x="847" y="1053"/>
                </a:lnTo>
                <a:lnTo>
                  <a:pt x="852" y="1058"/>
                </a:lnTo>
                <a:lnTo>
                  <a:pt x="849" y="1053"/>
                </a:lnTo>
                <a:lnTo>
                  <a:pt x="847" y="1051"/>
                </a:lnTo>
                <a:lnTo>
                  <a:pt x="847" y="1046"/>
                </a:lnTo>
                <a:lnTo>
                  <a:pt x="859" y="1041"/>
                </a:lnTo>
                <a:lnTo>
                  <a:pt x="873" y="1039"/>
                </a:lnTo>
                <a:lnTo>
                  <a:pt x="873" y="1041"/>
                </a:lnTo>
                <a:lnTo>
                  <a:pt x="878" y="1053"/>
                </a:lnTo>
                <a:lnTo>
                  <a:pt x="878" y="1058"/>
                </a:lnTo>
                <a:lnTo>
                  <a:pt x="880" y="1063"/>
                </a:lnTo>
                <a:lnTo>
                  <a:pt x="882" y="1065"/>
                </a:lnTo>
                <a:lnTo>
                  <a:pt x="887" y="1067"/>
                </a:lnTo>
                <a:lnTo>
                  <a:pt x="885" y="1070"/>
                </a:lnTo>
                <a:lnTo>
                  <a:pt x="885" y="1072"/>
                </a:lnTo>
                <a:lnTo>
                  <a:pt x="892" y="1084"/>
                </a:lnTo>
                <a:lnTo>
                  <a:pt x="892" y="1089"/>
                </a:lnTo>
                <a:lnTo>
                  <a:pt x="892" y="1098"/>
                </a:lnTo>
                <a:lnTo>
                  <a:pt x="894" y="1096"/>
                </a:lnTo>
                <a:lnTo>
                  <a:pt x="904" y="1091"/>
                </a:lnTo>
                <a:lnTo>
                  <a:pt x="894" y="1084"/>
                </a:lnTo>
                <a:lnTo>
                  <a:pt x="896" y="1082"/>
                </a:lnTo>
                <a:lnTo>
                  <a:pt x="892" y="1075"/>
                </a:lnTo>
                <a:lnTo>
                  <a:pt x="892" y="1067"/>
                </a:lnTo>
                <a:lnTo>
                  <a:pt x="894" y="1067"/>
                </a:lnTo>
                <a:lnTo>
                  <a:pt x="894" y="1070"/>
                </a:lnTo>
                <a:lnTo>
                  <a:pt x="896" y="1070"/>
                </a:lnTo>
                <a:lnTo>
                  <a:pt x="899" y="1072"/>
                </a:lnTo>
                <a:lnTo>
                  <a:pt x="896" y="1067"/>
                </a:lnTo>
                <a:lnTo>
                  <a:pt x="894" y="1065"/>
                </a:lnTo>
                <a:lnTo>
                  <a:pt x="892" y="1065"/>
                </a:lnTo>
                <a:lnTo>
                  <a:pt x="889" y="1063"/>
                </a:lnTo>
                <a:lnTo>
                  <a:pt x="887" y="1060"/>
                </a:lnTo>
                <a:lnTo>
                  <a:pt x="882" y="1049"/>
                </a:lnTo>
                <a:lnTo>
                  <a:pt x="878" y="1044"/>
                </a:lnTo>
                <a:lnTo>
                  <a:pt x="880" y="1039"/>
                </a:lnTo>
                <a:lnTo>
                  <a:pt x="882" y="1037"/>
                </a:lnTo>
                <a:lnTo>
                  <a:pt x="885" y="1032"/>
                </a:lnTo>
                <a:lnTo>
                  <a:pt x="889" y="1032"/>
                </a:lnTo>
                <a:lnTo>
                  <a:pt x="889" y="1030"/>
                </a:lnTo>
                <a:lnTo>
                  <a:pt x="889" y="1027"/>
                </a:lnTo>
                <a:lnTo>
                  <a:pt x="892" y="1025"/>
                </a:lnTo>
                <a:lnTo>
                  <a:pt x="894" y="1023"/>
                </a:lnTo>
                <a:lnTo>
                  <a:pt x="904" y="1023"/>
                </a:lnTo>
                <a:lnTo>
                  <a:pt x="904" y="1020"/>
                </a:lnTo>
                <a:lnTo>
                  <a:pt x="932" y="1015"/>
                </a:lnTo>
                <a:lnTo>
                  <a:pt x="930" y="1018"/>
                </a:lnTo>
                <a:lnTo>
                  <a:pt x="930" y="1018"/>
                </a:lnTo>
                <a:lnTo>
                  <a:pt x="932" y="1020"/>
                </a:lnTo>
                <a:lnTo>
                  <a:pt x="934" y="1025"/>
                </a:lnTo>
                <a:lnTo>
                  <a:pt x="925" y="1034"/>
                </a:lnTo>
                <a:lnTo>
                  <a:pt x="925" y="1046"/>
                </a:lnTo>
                <a:lnTo>
                  <a:pt x="932" y="1053"/>
                </a:lnTo>
                <a:lnTo>
                  <a:pt x="944" y="1056"/>
                </a:lnTo>
                <a:lnTo>
                  <a:pt x="965" y="1058"/>
                </a:lnTo>
                <a:lnTo>
                  <a:pt x="986" y="1053"/>
                </a:lnTo>
                <a:lnTo>
                  <a:pt x="1001" y="1046"/>
                </a:lnTo>
                <a:lnTo>
                  <a:pt x="1005" y="1046"/>
                </a:lnTo>
                <a:lnTo>
                  <a:pt x="1027" y="1049"/>
                </a:lnTo>
                <a:lnTo>
                  <a:pt x="1057" y="1044"/>
                </a:lnTo>
                <a:lnTo>
                  <a:pt x="1069" y="1046"/>
                </a:lnTo>
                <a:lnTo>
                  <a:pt x="1064" y="1039"/>
                </a:lnTo>
                <a:lnTo>
                  <a:pt x="1057" y="1037"/>
                </a:lnTo>
                <a:lnTo>
                  <a:pt x="1048" y="1034"/>
                </a:lnTo>
                <a:lnTo>
                  <a:pt x="1048" y="1037"/>
                </a:lnTo>
                <a:lnTo>
                  <a:pt x="1046" y="1037"/>
                </a:lnTo>
                <a:lnTo>
                  <a:pt x="1043" y="1039"/>
                </a:lnTo>
                <a:lnTo>
                  <a:pt x="1043" y="1037"/>
                </a:lnTo>
                <a:lnTo>
                  <a:pt x="1043" y="1034"/>
                </a:lnTo>
                <a:lnTo>
                  <a:pt x="1043" y="1032"/>
                </a:lnTo>
                <a:lnTo>
                  <a:pt x="1041" y="1030"/>
                </a:lnTo>
                <a:lnTo>
                  <a:pt x="1031" y="1027"/>
                </a:lnTo>
                <a:lnTo>
                  <a:pt x="1027" y="1025"/>
                </a:lnTo>
                <a:lnTo>
                  <a:pt x="1027" y="1023"/>
                </a:lnTo>
                <a:lnTo>
                  <a:pt x="1024" y="1011"/>
                </a:lnTo>
                <a:lnTo>
                  <a:pt x="1012" y="1001"/>
                </a:lnTo>
                <a:lnTo>
                  <a:pt x="1012" y="992"/>
                </a:lnTo>
                <a:lnTo>
                  <a:pt x="1012" y="980"/>
                </a:lnTo>
                <a:lnTo>
                  <a:pt x="1010" y="970"/>
                </a:lnTo>
                <a:lnTo>
                  <a:pt x="1008" y="963"/>
                </a:lnTo>
                <a:lnTo>
                  <a:pt x="1001" y="961"/>
                </a:lnTo>
                <a:lnTo>
                  <a:pt x="1001" y="959"/>
                </a:lnTo>
                <a:lnTo>
                  <a:pt x="1005" y="956"/>
                </a:lnTo>
                <a:lnTo>
                  <a:pt x="1008" y="952"/>
                </a:lnTo>
                <a:lnTo>
                  <a:pt x="1010" y="947"/>
                </a:lnTo>
                <a:lnTo>
                  <a:pt x="1012" y="928"/>
                </a:lnTo>
                <a:lnTo>
                  <a:pt x="1015" y="923"/>
                </a:lnTo>
                <a:lnTo>
                  <a:pt x="1017" y="925"/>
                </a:lnTo>
                <a:lnTo>
                  <a:pt x="1017" y="921"/>
                </a:lnTo>
                <a:lnTo>
                  <a:pt x="1019" y="918"/>
                </a:lnTo>
                <a:lnTo>
                  <a:pt x="1017" y="916"/>
                </a:lnTo>
                <a:lnTo>
                  <a:pt x="1015" y="914"/>
                </a:lnTo>
                <a:lnTo>
                  <a:pt x="1012" y="911"/>
                </a:lnTo>
                <a:lnTo>
                  <a:pt x="1017" y="888"/>
                </a:lnTo>
                <a:lnTo>
                  <a:pt x="1017" y="881"/>
                </a:lnTo>
                <a:lnTo>
                  <a:pt x="1022" y="878"/>
                </a:lnTo>
                <a:lnTo>
                  <a:pt x="1029" y="883"/>
                </a:lnTo>
                <a:lnTo>
                  <a:pt x="1029" y="881"/>
                </a:lnTo>
                <a:lnTo>
                  <a:pt x="1024" y="878"/>
                </a:lnTo>
                <a:lnTo>
                  <a:pt x="1017" y="878"/>
                </a:lnTo>
                <a:lnTo>
                  <a:pt x="1012" y="881"/>
                </a:lnTo>
                <a:lnTo>
                  <a:pt x="1010" y="888"/>
                </a:lnTo>
                <a:lnTo>
                  <a:pt x="1008" y="888"/>
                </a:lnTo>
                <a:lnTo>
                  <a:pt x="1008" y="885"/>
                </a:lnTo>
                <a:lnTo>
                  <a:pt x="1005" y="881"/>
                </a:lnTo>
                <a:lnTo>
                  <a:pt x="1003" y="878"/>
                </a:lnTo>
                <a:lnTo>
                  <a:pt x="1005" y="869"/>
                </a:lnTo>
                <a:lnTo>
                  <a:pt x="1005" y="864"/>
                </a:lnTo>
                <a:lnTo>
                  <a:pt x="1005" y="859"/>
                </a:lnTo>
                <a:lnTo>
                  <a:pt x="1003" y="857"/>
                </a:lnTo>
                <a:lnTo>
                  <a:pt x="1001" y="854"/>
                </a:lnTo>
                <a:lnTo>
                  <a:pt x="1001" y="850"/>
                </a:lnTo>
                <a:lnTo>
                  <a:pt x="1003" y="845"/>
                </a:lnTo>
                <a:lnTo>
                  <a:pt x="1005" y="838"/>
                </a:lnTo>
                <a:lnTo>
                  <a:pt x="1008" y="836"/>
                </a:lnTo>
                <a:lnTo>
                  <a:pt x="1012" y="833"/>
                </a:lnTo>
                <a:lnTo>
                  <a:pt x="1010" y="831"/>
                </a:lnTo>
                <a:lnTo>
                  <a:pt x="1008" y="831"/>
                </a:lnTo>
                <a:lnTo>
                  <a:pt x="1008" y="833"/>
                </a:lnTo>
                <a:lnTo>
                  <a:pt x="1005" y="826"/>
                </a:lnTo>
                <a:lnTo>
                  <a:pt x="1003" y="817"/>
                </a:lnTo>
                <a:lnTo>
                  <a:pt x="1003" y="810"/>
                </a:lnTo>
                <a:lnTo>
                  <a:pt x="1003" y="802"/>
                </a:lnTo>
                <a:lnTo>
                  <a:pt x="1003" y="798"/>
                </a:lnTo>
                <a:lnTo>
                  <a:pt x="1010" y="798"/>
                </a:lnTo>
                <a:lnTo>
                  <a:pt x="1019" y="800"/>
                </a:lnTo>
                <a:lnTo>
                  <a:pt x="1019" y="798"/>
                </a:lnTo>
                <a:lnTo>
                  <a:pt x="1012" y="795"/>
                </a:lnTo>
                <a:lnTo>
                  <a:pt x="1005" y="793"/>
                </a:lnTo>
                <a:lnTo>
                  <a:pt x="1001" y="793"/>
                </a:lnTo>
                <a:lnTo>
                  <a:pt x="998" y="800"/>
                </a:lnTo>
                <a:lnTo>
                  <a:pt x="993" y="795"/>
                </a:lnTo>
                <a:lnTo>
                  <a:pt x="989" y="779"/>
                </a:lnTo>
                <a:lnTo>
                  <a:pt x="986" y="774"/>
                </a:lnTo>
                <a:lnTo>
                  <a:pt x="986" y="772"/>
                </a:lnTo>
                <a:lnTo>
                  <a:pt x="989" y="772"/>
                </a:lnTo>
                <a:lnTo>
                  <a:pt x="989" y="772"/>
                </a:lnTo>
                <a:lnTo>
                  <a:pt x="982" y="765"/>
                </a:lnTo>
                <a:lnTo>
                  <a:pt x="977" y="760"/>
                </a:lnTo>
                <a:lnTo>
                  <a:pt x="977" y="753"/>
                </a:lnTo>
                <a:lnTo>
                  <a:pt x="982" y="753"/>
                </a:lnTo>
                <a:lnTo>
                  <a:pt x="982" y="750"/>
                </a:lnTo>
                <a:lnTo>
                  <a:pt x="979" y="741"/>
                </a:lnTo>
                <a:lnTo>
                  <a:pt x="977" y="741"/>
                </a:lnTo>
                <a:lnTo>
                  <a:pt x="975" y="748"/>
                </a:lnTo>
                <a:lnTo>
                  <a:pt x="970" y="746"/>
                </a:lnTo>
                <a:lnTo>
                  <a:pt x="963" y="739"/>
                </a:lnTo>
                <a:lnTo>
                  <a:pt x="958" y="736"/>
                </a:lnTo>
                <a:lnTo>
                  <a:pt x="958" y="731"/>
                </a:lnTo>
                <a:lnTo>
                  <a:pt x="958" y="731"/>
                </a:lnTo>
                <a:lnTo>
                  <a:pt x="960" y="729"/>
                </a:lnTo>
                <a:lnTo>
                  <a:pt x="956" y="729"/>
                </a:lnTo>
                <a:lnTo>
                  <a:pt x="951" y="731"/>
                </a:lnTo>
                <a:lnTo>
                  <a:pt x="949" y="731"/>
                </a:lnTo>
                <a:lnTo>
                  <a:pt x="946" y="729"/>
                </a:lnTo>
                <a:lnTo>
                  <a:pt x="946" y="724"/>
                </a:lnTo>
                <a:lnTo>
                  <a:pt x="946" y="708"/>
                </a:lnTo>
                <a:lnTo>
                  <a:pt x="946" y="703"/>
                </a:lnTo>
                <a:lnTo>
                  <a:pt x="946" y="701"/>
                </a:lnTo>
                <a:lnTo>
                  <a:pt x="944" y="696"/>
                </a:lnTo>
                <a:lnTo>
                  <a:pt x="941" y="689"/>
                </a:lnTo>
                <a:lnTo>
                  <a:pt x="941" y="686"/>
                </a:lnTo>
                <a:lnTo>
                  <a:pt x="941" y="684"/>
                </a:lnTo>
                <a:lnTo>
                  <a:pt x="939" y="682"/>
                </a:lnTo>
                <a:lnTo>
                  <a:pt x="937" y="677"/>
                </a:lnTo>
                <a:lnTo>
                  <a:pt x="930" y="667"/>
                </a:lnTo>
                <a:lnTo>
                  <a:pt x="930" y="665"/>
                </a:lnTo>
                <a:lnTo>
                  <a:pt x="930" y="660"/>
                </a:lnTo>
                <a:lnTo>
                  <a:pt x="939" y="653"/>
                </a:lnTo>
                <a:lnTo>
                  <a:pt x="941" y="649"/>
                </a:lnTo>
                <a:lnTo>
                  <a:pt x="941" y="634"/>
                </a:lnTo>
                <a:lnTo>
                  <a:pt x="941" y="627"/>
                </a:lnTo>
                <a:lnTo>
                  <a:pt x="939" y="623"/>
                </a:lnTo>
                <a:lnTo>
                  <a:pt x="939" y="618"/>
                </a:lnTo>
                <a:lnTo>
                  <a:pt x="937" y="613"/>
                </a:lnTo>
                <a:lnTo>
                  <a:pt x="934" y="611"/>
                </a:lnTo>
                <a:lnTo>
                  <a:pt x="925" y="608"/>
                </a:lnTo>
                <a:lnTo>
                  <a:pt x="913" y="604"/>
                </a:lnTo>
                <a:lnTo>
                  <a:pt x="915" y="592"/>
                </a:lnTo>
                <a:lnTo>
                  <a:pt x="915" y="587"/>
                </a:lnTo>
                <a:lnTo>
                  <a:pt x="918" y="582"/>
                </a:lnTo>
                <a:lnTo>
                  <a:pt x="925" y="582"/>
                </a:lnTo>
                <a:lnTo>
                  <a:pt x="927" y="582"/>
                </a:lnTo>
                <a:lnTo>
                  <a:pt x="932" y="587"/>
                </a:lnTo>
                <a:lnTo>
                  <a:pt x="934" y="589"/>
                </a:lnTo>
                <a:lnTo>
                  <a:pt x="944" y="587"/>
                </a:lnTo>
                <a:lnTo>
                  <a:pt x="946" y="589"/>
                </a:lnTo>
                <a:lnTo>
                  <a:pt x="946" y="589"/>
                </a:lnTo>
                <a:lnTo>
                  <a:pt x="949" y="596"/>
                </a:lnTo>
                <a:lnTo>
                  <a:pt x="949" y="599"/>
                </a:lnTo>
                <a:lnTo>
                  <a:pt x="951" y="599"/>
                </a:lnTo>
                <a:lnTo>
                  <a:pt x="953" y="596"/>
                </a:lnTo>
                <a:lnTo>
                  <a:pt x="956" y="599"/>
                </a:lnTo>
                <a:lnTo>
                  <a:pt x="960" y="601"/>
                </a:lnTo>
                <a:lnTo>
                  <a:pt x="979" y="604"/>
                </a:lnTo>
                <a:lnTo>
                  <a:pt x="1001" y="611"/>
                </a:lnTo>
                <a:lnTo>
                  <a:pt x="1003" y="611"/>
                </a:lnTo>
                <a:lnTo>
                  <a:pt x="1003" y="611"/>
                </a:lnTo>
                <a:lnTo>
                  <a:pt x="1005" y="613"/>
                </a:lnTo>
                <a:lnTo>
                  <a:pt x="1005" y="615"/>
                </a:lnTo>
                <a:lnTo>
                  <a:pt x="1008" y="618"/>
                </a:lnTo>
                <a:lnTo>
                  <a:pt x="1010" y="615"/>
                </a:lnTo>
                <a:lnTo>
                  <a:pt x="1012" y="611"/>
                </a:lnTo>
                <a:lnTo>
                  <a:pt x="1017" y="611"/>
                </a:lnTo>
                <a:lnTo>
                  <a:pt x="1019" y="611"/>
                </a:lnTo>
                <a:lnTo>
                  <a:pt x="1024" y="613"/>
                </a:lnTo>
                <a:lnTo>
                  <a:pt x="1029" y="613"/>
                </a:lnTo>
                <a:lnTo>
                  <a:pt x="1034" y="611"/>
                </a:lnTo>
                <a:lnTo>
                  <a:pt x="1038" y="608"/>
                </a:lnTo>
                <a:lnTo>
                  <a:pt x="1046" y="599"/>
                </a:lnTo>
                <a:lnTo>
                  <a:pt x="1048" y="594"/>
                </a:lnTo>
                <a:lnTo>
                  <a:pt x="1062" y="592"/>
                </a:lnTo>
                <a:lnTo>
                  <a:pt x="1067" y="592"/>
                </a:lnTo>
                <a:lnTo>
                  <a:pt x="1100" y="599"/>
                </a:lnTo>
                <a:lnTo>
                  <a:pt x="1102" y="599"/>
                </a:lnTo>
                <a:lnTo>
                  <a:pt x="1102" y="601"/>
                </a:lnTo>
                <a:lnTo>
                  <a:pt x="1105" y="608"/>
                </a:lnTo>
                <a:lnTo>
                  <a:pt x="1109" y="623"/>
                </a:lnTo>
                <a:lnTo>
                  <a:pt x="1112" y="630"/>
                </a:lnTo>
                <a:lnTo>
                  <a:pt x="1105" y="634"/>
                </a:lnTo>
                <a:lnTo>
                  <a:pt x="1102" y="639"/>
                </a:lnTo>
                <a:lnTo>
                  <a:pt x="1102" y="641"/>
                </a:lnTo>
                <a:lnTo>
                  <a:pt x="1100" y="644"/>
                </a:lnTo>
                <a:lnTo>
                  <a:pt x="1095" y="644"/>
                </a:lnTo>
                <a:lnTo>
                  <a:pt x="1093" y="646"/>
                </a:lnTo>
                <a:lnTo>
                  <a:pt x="1090" y="646"/>
                </a:lnTo>
                <a:lnTo>
                  <a:pt x="1088" y="658"/>
                </a:lnTo>
                <a:lnTo>
                  <a:pt x="1093" y="665"/>
                </a:lnTo>
                <a:lnTo>
                  <a:pt x="1098" y="672"/>
                </a:lnTo>
                <a:lnTo>
                  <a:pt x="1100" y="684"/>
                </a:lnTo>
                <a:lnTo>
                  <a:pt x="1121" y="712"/>
                </a:lnTo>
                <a:lnTo>
                  <a:pt x="1124" y="720"/>
                </a:lnTo>
                <a:lnTo>
                  <a:pt x="1126" y="729"/>
                </a:lnTo>
                <a:lnTo>
                  <a:pt x="1124" y="734"/>
                </a:lnTo>
                <a:lnTo>
                  <a:pt x="1124" y="736"/>
                </a:lnTo>
                <a:lnTo>
                  <a:pt x="1121" y="739"/>
                </a:lnTo>
                <a:lnTo>
                  <a:pt x="1121" y="739"/>
                </a:lnTo>
                <a:lnTo>
                  <a:pt x="1121" y="743"/>
                </a:lnTo>
                <a:lnTo>
                  <a:pt x="1124" y="743"/>
                </a:lnTo>
                <a:lnTo>
                  <a:pt x="1128" y="741"/>
                </a:lnTo>
                <a:lnTo>
                  <a:pt x="1131" y="741"/>
                </a:lnTo>
                <a:lnTo>
                  <a:pt x="1133" y="743"/>
                </a:lnTo>
                <a:lnTo>
                  <a:pt x="1135" y="748"/>
                </a:lnTo>
                <a:lnTo>
                  <a:pt x="1138" y="748"/>
                </a:lnTo>
                <a:lnTo>
                  <a:pt x="1145" y="748"/>
                </a:lnTo>
                <a:lnTo>
                  <a:pt x="1145" y="743"/>
                </a:lnTo>
                <a:lnTo>
                  <a:pt x="1140" y="741"/>
                </a:lnTo>
                <a:lnTo>
                  <a:pt x="1143" y="734"/>
                </a:lnTo>
                <a:lnTo>
                  <a:pt x="1147" y="729"/>
                </a:lnTo>
                <a:lnTo>
                  <a:pt x="1152" y="727"/>
                </a:lnTo>
                <a:lnTo>
                  <a:pt x="1190" y="729"/>
                </a:lnTo>
                <a:lnTo>
                  <a:pt x="1223" y="743"/>
                </a:lnTo>
                <a:lnTo>
                  <a:pt x="1270" y="746"/>
                </a:lnTo>
                <a:lnTo>
                  <a:pt x="1282" y="750"/>
                </a:lnTo>
                <a:lnTo>
                  <a:pt x="1289" y="750"/>
                </a:lnTo>
                <a:lnTo>
                  <a:pt x="1299" y="746"/>
                </a:lnTo>
                <a:lnTo>
                  <a:pt x="1306" y="746"/>
                </a:lnTo>
                <a:lnTo>
                  <a:pt x="1318" y="753"/>
                </a:lnTo>
                <a:lnTo>
                  <a:pt x="1337" y="753"/>
                </a:lnTo>
                <a:lnTo>
                  <a:pt x="1341" y="753"/>
                </a:lnTo>
                <a:lnTo>
                  <a:pt x="1351" y="760"/>
                </a:lnTo>
                <a:lnTo>
                  <a:pt x="1365" y="762"/>
                </a:lnTo>
                <a:lnTo>
                  <a:pt x="1391" y="779"/>
                </a:lnTo>
                <a:lnTo>
                  <a:pt x="1398" y="772"/>
                </a:lnTo>
                <a:lnTo>
                  <a:pt x="1441" y="762"/>
                </a:lnTo>
                <a:lnTo>
                  <a:pt x="1455" y="755"/>
                </a:lnTo>
                <a:lnTo>
                  <a:pt x="1462" y="748"/>
                </a:lnTo>
                <a:lnTo>
                  <a:pt x="1469" y="748"/>
                </a:lnTo>
                <a:lnTo>
                  <a:pt x="1471" y="746"/>
                </a:lnTo>
                <a:lnTo>
                  <a:pt x="1479" y="734"/>
                </a:lnTo>
                <a:lnTo>
                  <a:pt x="1497" y="722"/>
                </a:lnTo>
                <a:lnTo>
                  <a:pt x="1566" y="705"/>
                </a:lnTo>
                <a:lnTo>
                  <a:pt x="1578" y="698"/>
                </a:lnTo>
                <a:lnTo>
                  <a:pt x="1583" y="694"/>
                </a:lnTo>
                <a:lnTo>
                  <a:pt x="1587" y="686"/>
                </a:lnTo>
                <a:lnTo>
                  <a:pt x="1568" y="701"/>
                </a:lnTo>
                <a:lnTo>
                  <a:pt x="1545" y="703"/>
                </a:lnTo>
                <a:lnTo>
                  <a:pt x="1523" y="701"/>
                </a:lnTo>
                <a:lnTo>
                  <a:pt x="1502" y="694"/>
                </a:lnTo>
                <a:lnTo>
                  <a:pt x="1497" y="694"/>
                </a:lnTo>
                <a:lnTo>
                  <a:pt x="1493" y="694"/>
                </a:lnTo>
                <a:lnTo>
                  <a:pt x="1486" y="691"/>
                </a:lnTo>
                <a:lnTo>
                  <a:pt x="1481" y="689"/>
                </a:lnTo>
                <a:lnTo>
                  <a:pt x="1479" y="684"/>
                </a:lnTo>
                <a:lnTo>
                  <a:pt x="1476" y="682"/>
                </a:lnTo>
                <a:lnTo>
                  <a:pt x="1474" y="679"/>
                </a:lnTo>
                <a:lnTo>
                  <a:pt x="1471" y="675"/>
                </a:lnTo>
                <a:lnTo>
                  <a:pt x="1471" y="670"/>
                </a:lnTo>
                <a:lnTo>
                  <a:pt x="1474" y="667"/>
                </a:lnTo>
                <a:lnTo>
                  <a:pt x="1488" y="641"/>
                </a:lnTo>
                <a:lnTo>
                  <a:pt x="1497" y="604"/>
                </a:lnTo>
                <a:lnTo>
                  <a:pt x="1502" y="599"/>
                </a:lnTo>
                <a:lnTo>
                  <a:pt x="1516" y="587"/>
                </a:lnTo>
                <a:lnTo>
                  <a:pt x="1519" y="587"/>
                </a:lnTo>
                <a:lnTo>
                  <a:pt x="1521" y="585"/>
                </a:lnTo>
                <a:lnTo>
                  <a:pt x="1559" y="568"/>
                </a:lnTo>
                <a:lnTo>
                  <a:pt x="1561" y="563"/>
                </a:lnTo>
                <a:lnTo>
                  <a:pt x="1594" y="542"/>
                </a:lnTo>
                <a:lnTo>
                  <a:pt x="1604" y="540"/>
                </a:lnTo>
                <a:lnTo>
                  <a:pt x="1616" y="533"/>
                </a:lnTo>
                <a:lnTo>
                  <a:pt x="1637" y="523"/>
                </a:lnTo>
                <a:lnTo>
                  <a:pt x="1661" y="523"/>
                </a:lnTo>
                <a:lnTo>
                  <a:pt x="1774" y="485"/>
                </a:lnTo>
                <a:lnTo>
                  <a:pt x="1779" y="481"/>
                </a:lnTo>
                <a:lnTo>
                  <a:pt x="1786" y="478"/>
                </a:lnTo>
                <a:lnTo>
                  <a:pt x="1798" y="466"/>
                </a:lnTo>
                <a:lnTo>
                  <a:pt x="1833" y="438"/>
                </a:lnTo>
                <a:lnTo>
                  <a:pt x="1848" y="419"/>
                </a:lnTo>
                <a:lnTo>
                  <a:pt x="1850" y="417"/>
                </a:lnTo>
                <a:lnTo>
                  <a:pt x="1852" y="412"/>
                </a:lnTo>
                <a:lnTo>
                  <a:pt x="1857" y="391"/>
                </a:lnTo>
                <a:lnTo>
                  <a:pt x="1867" y="376"/>
                </a:lnTo>
                <a:lnTo>
                  <a:pt x="1876" y="376"/>
                </a:lnTo>
                <a:lnTo>
                  <a:pt x="1904" y="388"/>
                </a:lnTo>
                <a:lnTo>
                  <a:pt x="1907" y="388"/>
                </a:lnTo>
                <a:lnTo>
                  <a:pt x="1909" y="386"/>
                </a:lnTo>
                <a:lnTo>
                  <a:pt x="1909" y="383"/>
                </a:lnTo>
                <a:lnTo>
                  <a:pt x="1907" y="383"/>
                </a:lnTo>
                <a:lnTo>
                  <a:pt x="1904" y="381"/>
                </a:lnTo>
                <a:lnTo>
                  <a:pt x="1902" y="381"/>
                </a:lnTo>
                <a:lnTo>
                  <a:pt x="1900" y="376"/>
                </a:lnTo>
                <a:lnTo>
                  <a:pt x="1907" y="376"/>
                </a:lnTo>
                <a:lnTo>
                  <a:pt x="1907" y="374"/>
                </a:lnTo>
                <a:lnTo>
                  <a:pt x="1902" y="374"/>
                </a:lnTo>
                <a:lnTo>
                  <a:pt x="1895" y="372"/>
                </a:lnTo>
                <a:lnTo>
                  <a:pt x="1890" y="369"/>
                </a:lnTo>
                <a:lnTo>
                  <a:pt x="1890" y="365"/>
                </a:lnTo>
                <a:lnTo>
                  <a:pt x="1885" y="360"/>
                </a:lnTo>
                <a:lnTo>
                  <a:pt x="1874" y="353"/>
                </a:lnTo>
                <a:lnTo>
                  <a:pt x="1871" y="350"/>
                </a:lnTo>
                <a:lnTo>
                  <a:pt x="1871" y="336"/>
                </a:lnTo>
                <a:lnTo>
                  <a:pt x="1874" y="320"/>
                </a:lnTo>
                <a:lnTo>
                  <a:pt x="1878" y="308"/>
                </a:lnTo>
                <a:lnTo>
                  <a:pt x="1890" y="310"/>
                </a:lnTo>
                <a:lnTo>
                  <a:pt x="1890" y="308"/>
                </a:lnTo>
                <a:lnTo>
                  <a:pt x="1874" y="296"/>
                </a:lnTo>
                <a:lnTo>
                  <a:pt x="1874" y="294"/>
                </a:lnTo>
                <a:lnTo>
                  <a:pt x="1878" y="279"/>
                </a:lnTo>
                <a:lnTo>
                  <a:pt x="1878" y="258"/>
                </a:lnTo>
                <a:lnTo>
                  <a:pt x="1881" y="241"/>
                </a:lnTo>
                <a:lnTo>
                  <a:pt x="1888" y="234"/>
                </a:lnTo>
                <a:lnTo>
                  <a:pt x="1881" y="223"/>
                </a:lnTo>
                <a:lnTo>
                  <a:pt x="1878" y="218"/>
                </a:lnTo>
                <a:lnTo>
                  <a:pt x="1878" y="196"/>
                </a:lnTo>
                <a:lnTo>
                  <a:pt x="1874" y="180"/>
                </a:lnTo>
                <a:lnTo>
                  <a:pt x="1874" y="170"/>
                </a:lnTo>
                <a:lnTo>
                  <a:pt x="1876" y="163"/>
                </a:lnTo>
                <a:lnTo>
                  <a:pt x="1881" y="147"/>
                </a:lnTo>
                <a:lnTo>
                  <a:pt x="1883" y="140"/>
                </a:lnTo>
                <a:lnTo>
                  <a:pt x="1885" y="133"/>
                </a:lnTo>
                <a:lnTo>
                  <a:pt x="1883" y="121"/>
                </a:lnTo>
                <a:lnTo>
                  <a:pt x="1878" y="107"/>
                </a:lnTo>
                <a:lnTo>
                  <a:pt x="1878" y="99"/>
                </a:lnTo>
                <a:lnTo>
                  <a:pt x="1878" y="97"/>
                </a:lnTo>
                <a:lnTo>
                  <a:pt x="1883" y="92"/>
                </a:lnTo>
                <a:lnTo>
                  <a:pt x="1885" y="92"/>
                </a:lnTo>
                <a:lnTo>
                  <a:pt x="1893" y="92"/>
                </a:lnTo>
                <a:lnTo>
                  <a:pt x="1897" y="90"/>
                </a:lnTo>
                <a:lnTo>
                  <a:pt x="1902" y="85"/>
                </a:lnTo>
                <a:lnTo>
                  <a:pt x="1909" y="73"/>
                </a:lnTo>
                <a:lnTo>
                  <a:pt x="1916" y="66"/>
                </a:lnTo>
                <a:lnTo>
                  <a:pt x="1968" y="43"/>
                </a:lnTo>
                <a:lnTo>
                  <a:pt x="1973" y="43"/>
                </a:lnTo>
                <a:lnTo>
                  <a:pt x="1982" y="38"/>
                </a:lnTo>
                <a:lnTo>
                  <a:pt x="2025" y="31"/>
                </a:lnTo>
                <a:lnTo>
                  <a:pt x="2070" y="14"/>
                </a:lnTo>
                <a:lnTo>
                  <a:pt x="2072" y="12"/>
                </a:lnTo>
                <a:lnTo>
                  <a:pt x="2075" y="12"/>
                </a:lnTo>
                <a:lnTo>
                  <a:pt x="2091" y="14"/>
                </a:lnTo>
                <a:lnTo>
                  <a:pt x="2113" y="7"/>
                </a:lnTo>
                <a:lnTo>
                  <a:pt x="2124" y="2"/>
                </a:lnTo>
                <a:lnTo>
                  <a:pt x="2127" y="0"/>
                </a:lnTo>
                <a:lnTo>
                  <a:pt x="2132" y="10"/>
                </a:lnTo>
                <a:moveTo>
                  <a:pt x="2070" y="3690"/>
                </a:moveTo>
                <a:lnTo>
                  <a:pt x="2070" y="3690"/>
                </a:lnTo>
                <a:lnTo>
                  <a:pt x="2077" y="3692"/>
                </a:lnTo>
                <a:lnTo>
                  <a:pt x="2077" y="3692"/>
                </a:lnTo>
                <a:lnTo>
                  <a:pt x="2079" y="3690"/>
                </a:lnTo>
                <a:lnTo>
                  <a:pt x="2082" y="3690"/>
                </a:lnTo>
                <a:lnTo>
                  <a:pt x="2077" y="3685"/>
                </a:lnTo>
                <a:lnTo>
                  <a:pt x="2075" y="3678"/>
                </a:lnTo>
                <a:lnTo>
                  <a:pt x="2070" y="3673"/>
                </a:lnTo>
                <a:lnTo>
                  <a:pt x="2068" y="3676"/>
                </a:lnTo>
                <a:lnTo>
                  <a:pt x="2065" y="3683"/>
                </a:lnTo>
                <a:lnTo>
                  <a:pt x="2065" y="3688"/>
                </a:lnTo>
                <a:lnTo>
                  <a:pt x="2070" y="3690"/>
                </a:lnTo>
              </a:path>
            </a:pathLst>
          </a:custGeom>
          <a:solidFill>
            <a:schemeClr val="bg1"/>
          </a:solidFill>
          <a:ln w="12700" cap="rnd">
            <a:solidFill>
              <a:schemeClr val="bg1">
                <a:lumMod val="50000"/>
              </a:schemeClr>
            </a:solidFill>
            <a:prstDash val="solid"/>
            <a:round/>
            <a:headEnd/>
            <a:tailEnd/>
          </a:ln>
        </p:spPr>
        <p:txBody>
          <a:bodyPr vert="horz" wrap="square" lIns="132077" tIns="66037" rIns="132077" bIns="66037" numCol="1" anchor="t" anchorCtr="0" compatLnSpc="1">
            <a:prstTxWarp prst="textNoShape">
              <a:avLst/>
            </a:prstTxWarp>
          </a:bodyPr>
          <a:lstStyle/>
          <a:p>
            <a:pPr defTabSz="1430414">
              <a:defRPr/>
            </a:pPr>
            <a:endParaRPr lang="fr-FR" sz="2667">
              <a:solidFill>
                <a:srgbClr val="000000"/>
              </a:solidFill>
              <a:latin typeface="Marianne" panose="02000000000000000000" pitchFamily="2" charset="0"/>
            </a:endParaRPr>
          </a:p>
        </p:txBody>
      </p:sp>
      <p:sp>
        <p:nvSpPr>
          <p:cNvPr id="232733254" name="ZoneTexte 118"/>
          <p:cNvSpPr txBox="1"/>
          <p:nvPr/>
        </p:nvSpPr>
        <p:spPr bwMode="auto">
          <a:xfrm>
            <a:off x="988606" y="1264117"/>
            <a:ext cx="1834559" cy="388055"/>
          </a:xfrm>
          <a:prstGeom prst="rect">
            <a:avLst/>
          </a:prstGeom>
          <a:noFill/>
          <a:ln>
            <a:solidFill>
              <a:srgbClr val="1C408E"/>
            </a:solidFill>
          </a:ln>
        </p:spPr>
        <p:txBody>
          <a:bodyPr wrap="square" lIns="48000" rIns="48000">
            <a:spAutoFit/>
          </a:bodyPr>
          <a:lstStyle/>
          <a:p>
            <a:pPr>
              <a:lnSpc>
                <a:spcPct val="150000"/>
              </a:lnSpc>
              <a:defRPr/>
            </a:pPr>
            <a:r>
              <a:rPr lang="fr-FR" sz="1467" b="1" dirty="0">
                <a:solidFill>
                  <a:schemeClr val="bg1"/>
                </a:solidFill>
                <a:latin typeface="Marianne" panose="02000000000000000000" pitchFamily="2" charset="0"/>
              </a:rPr>
              <a:t>Carte de visite</a:t>
            </a:r>
            <a:endParaRPr lang="fr-FR" sz="1467" i="1" u="sng" dirty="0">
              <a:solidFill>
                <a:schemeClr val="bg1"/>
              </a:solidFill>
              <a:latin typeface="Marianne" panose="02000000000000000000" pitchFamily="2" charset="0"/>
            </a:endParaRPr>
          </a:p>
        </p:txBody>
      </p:sp>
      <p:sp>
        <p:nvSpPr>
          <p:cNvPr id="25" name="ZoneTexte 84">
            <a:extLst>
              <a:ext uri="{FF2B5EF4-FFF2-40B4-BE49-F238E27FC236}">
                <a16:creationId xmlns:a16="http://schemas.microsoft.com/office/drawing/2014/main" id="{A1B745C6-D079-43EA-B72D-BF70C7483258}"/>
              </a:ext>
            </a:extLst>
          </p:cNvPr>
          <p:cNvSpPr txBox="1"/>
          <p:nvPr/>
        </p:nvSpPr>
        <p:spPr bwMode="auto">
          <a:xfrm>
            <a:off x="3461838" y="4544209"/>
            <a:ext cx="5802513" cy="430631"/>
          </a:xfrm>
          <a:prstGeom prst="rect">
            <a:avLst/>
          </a:prstGeom>
          <a:noFill/>
        </p:spPr>
        <p:txBody>
          <a:bodyPr wrap="square" rtlCol="0">
            <a:spAutoFit/>
          </a:bodyPr>
          <a:lstStyle/>
          <a:p>
            <a:pPr algn="just">
              <a:lnSpc>
                <a:spcPct val="106000"/>
              </a:lnSpc>
            </a:pPr>
            <a:r>
              <a:rPr lang="fr-FR" sz="1067" b="1" dirty="0">
                <a:solidFill>
                  <a:srgbClr val="1C408E"/>
                </a:solidFill>
                <a:latin typeface="Marianne" panose="02000000000000000000" pitchFamily="2" charset="0"/>
                <a:ea typeface="Marianne"/>
                <a:cs typeface="Marianne"/>
              </a:rPr>
              <a:t>Détail du projet</a:t>
            </a:r>
          </a:p>
          <a:p>
            <a:pPr marL="228594" indent="-228594" algn="just">
              <a:buFont typeface="Arial" panose="020B0604020202020204" pitchFamily="34" charset="0"/>
              <a:buChar char="•"/>
            </a:pPr>
            <a:r>
              <a:rPr lang="fr-FR" sz="1067" dirty="0">
                <a:latin typeface="Marianne" panose="02000000000000000000" pitchFamily="2" charset="0"/>
              </a:rPr>
              <a:t>xx</a:t>
            </a:r>
          </a:p>
        </p:txBody>
      </p:sp>
      <p:sp>
        <p:nvSpPr>
          <p:cNvPr id="29" name="ZoneTexte 84">
            <a:extLst>
              <a:ext uri="{FF2B5EF4-FFF2-40B4-BE49-F238E27FC236}">
                <a16:creationId xmlns:a16="http://schemas.microsoft.com/office/drawing/2014/main" id="{CA92762F-9270-41FB-9699-798B8E194DD2}"/>
              </a:ext>
            </a:extLst>
          </p:cNvPr>
          <p:cNvSpPr txBox="1"/>
          <p:nvPr/>
        </p:nvSpPr>
        <p:spPr bwMode="auto">
          <a:xfrm>
            <a:off x="3461838" y="2610314"/>
            <a:ext cx="7973652" cy="430631"/>
          </a:xfrm>
          <a:prstGeom prst="rect">
            <a:avLst/>
          </a:prstGeom>
          <a:noFill/>
          <a:ln>
            <a:solidFill>
              <a:srgbClr val="1C408E"/>
            </a:solidFill>
          </a:ln>
        </p:spPr>
        <p:txBody>
          <a:bodyPr wrap="squar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06000"/>
              </a:lnSpc>
            </a:pPr>
            <a:r>
              <a:rPr lang="fr-FR" sz="1067" b="1" dirty="0">
                <a:solidFill>
                  <a:srgbClr val="1C408E"/>
                </a:solidFill>
                <a:latin typeface="Marianne" panose="02000000000000000000" pitchFamily="2" charset="0"/>
                <a:ea typeface="Marianne"/>
                <a:cs typeface="Marianne"/>
              </a:rPr>
              <a:t>Enjeux et objectif</a:t>
            </a:r>
          </a:p>
          <a:p>
            <a:pPr marL="228594" indent="-228594" algn="just">
              <a:buFont typeface="Arial" panose="020B0604020202020204" pitchFamily="34" charset="0"/>
              <a:buChar char="•"/>
            </a:pPr>
            <a:r>
              <a:rPr lang="fr-FR" sz="1067" dirty="0">
                <a:latin typeface="Marianne" panose="02000000000000000000" pitchFamily="2" charset="0"/>
              </a:rPr>
              <a:t>xx</a:t>
            </a:r>
            <a:endParaRPr lang="fr-FR" sz="1067" dirty="0">
              <a:latin typeface="Marianne" panose="02000000000000000000" pitchFamily="2" charset="0"/>
              <a:ea typeface="Marianne"/>
              <a:cs typeface="Marianne"/>
            </a:endParaRPr>
          </a:p>
        </p:txBody>
      </p:sp>
      <p:sp>
        <p:nvSpPr>
          <p:cNvPr id="48" name="ZoneTexte 84">
            <a:extLst>
              <a:ext uri="{FF2B5EF4-FFF2-40B4-BE49-F238E27FC236}">
                <a16:creationId xmlns:a16="http://schemas.microsoft.com/office/drawing/2014/main" id="{A1B745C6-D079-43EA-B72D-BF70C7483258}"/>
              </a:ext>
            </a:extLst>
          </p:cNvPr>
          <p:cNvSpPr txBox="1"/>
          <p:nvPr/>
        </p:nvSpPr>
        <p:spPr bwMode="auto">
          <a:xfrm>
            <a:off x="3461838" y="3578885"/>
            <a:ext cx="5551897" cy="427296"/>
          </a:xfrm>
          <a:prstGeom prst="rect">
            <a:avLst/>
          </a:prstGeom>
          <a:noFill/>
        </p:spPr>
        <p:txBody>
          <a:bodyPr wrap="square" rtlCol="0">
            <a:spAutoFit/>
          </a:bodyPr>
          <a:lstStyle/>
          <a:p>
            <a:pPr algn="just">
              <a:lnSpc>
                <a:spcPct val="106000"/>
              </a:lnSpc>
            </a:pPr>
            <a:r>
              <a:rPr lang="fr-FR" sz="1067" b="1" dirty="0">
                <a:solidFill>
                  <a:srgbClr val="1C408E"/>
                </a:solidFill>
                <a:latin typeface="Marianne" panose="02000000000000000000" pitchFamily="2" charset="0"/>
                <a:ea typeface="Marianne"/>
                <a:cs typeface="Marianne"/>
              </a:rPr>
              <a:t>Bénéficiaires</a:t>
            </a:r>
          </a:p>
          <a:p>
            <a:pPr marL="228594" indent="-228594" algn="just">
              <a:lnSpc>
                <a:spcPct val="106000"/>
              </a:lnSpc>
              <a:buFont typeface="Arial" panose="020B0604020202020204" pitchFamily="34" charset="0"/>
              <a:buChar char="•"/>
            </a:pPr>
            <a:r>
              <a:rPr lang="fr-FR" sz="1067" dirty="0">
                <a:latin typeface="Marianne" panose="02000000000000000000" pitchFamily="2" charset="0"/>
                <a:ea typeface="Marianne"/>
                <a:cs typeface="Marianne"/>
              </a:rPr>
              <a:t>xx</a:t>
            </a:r>
          </a:p>
        </p:txBody>
      </p:sp>
      <p:sp>
        <p:nvSpPr>
          <p:cNvPr id="27" name="Rectangle 26">
            <a:extLst>
              <a:ext uri="{FF2B5EF4-FFF2-40B4-BE49-F238E27FC236}">
                <a16:creationId xmlns:a16="http://schemas.microsoft.com/office/drawing/2014/main" id="{F883B0F0-610D-465F-8737-2971A57AFFBD}"/>
              </a:ext>
            </a:extLst>
          </p:cNvPr>
          <p:cNvSpPr/>
          <p:nvPr/>
        </p:nvSpPr>
        <p:spPr bwMode="auto">
          <a:xfrm>
            <a:off x="983141" y="1952933"/>
            <a:ext cx="1500329" cy="1001144"/>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i="1" dirty="0">
                <a:solidFill>
                  <a:schemeClr val="tx1"/>
                </a:solidFill>
                <a:latin typeface="Marianne" panose="02000000000000000000" pitchFamily="2" charset="0"/>
              </a:rPr>
              <a:t>Illustration</a:t>
            </a:r>
          </a:p>
        </p:txBody>
      </p:sp>
      <p:sp>
        <p:nvSpPr>
          <p:cNvPr id="30" name="Organigramme : Connecteur 117">
            <a:extLst>
              <a:ext uri="{FF2B5EF4-FFF2-40B4-BE49-F238E27FC236}">
                <a16:creationId xmlns:a16="http://schemas.microsoft.com/office/drawing/2014/main" id="{6D488BD7-1677-495A-834A-0B1AD24C1D25}"/>
              </a:ext>
            </a:extLst>
          </p:cNvPr>
          <p:cNvSpPr/>
          <p:nvPr/>
        </p:nvSpPr>
        <p:spPr bwMode="auto">
          <a:xfrm>
            <a:off x="547619" y="1394127"/>
            <a:ext cx="96000" cy="96000"/>
          </a:xfrm>
          <a:prstGeom prst="flowChartConnector">
            <a:avLst/>
          </a:prstGeom>
          <a:solidFill>
            <a:srgbClr val="1C408E"/>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sz="2400" dirty="0">
              <a:solidFill>
                <a:srgbClr val="000000"/>
              </a:solidFill>
            </a:endParaRPr>
          </a:p>
        </p:txBody>
      </p:sp>
      <p:sp>
        <p:nvSpPr>
          <p:cNvPr id="31" name="Freeform: Shape 6">
            <a:extLst>
              <a:ext uri="{FF2B5EF4-FFF2-40B4-BE49-F238E27FC236}">
                <a16:creationId xmlns:a16="http://schemas.microsoft.com/office/drawing/2014/main" id="{87C6F431-017E-485D-BD7D-5804D23351EA}"/>
              </a:ext>
            </a:extLst>
          </p:cNvPr>
          <p:cNvSpPr/>
          <p:nvPr/>
        </p:nvSpPr>
        <p:spPr bwMode="auto">
          <a:xfrm>
            <a:off x="10032437" y="68092"/>
            <a:ext cx="1977736" cy="609193"/>
          </a:xfrm>
          <a:custGeom>
            <a:avLst/>
            <a:gdLst>
              <a:gd name="connsiteX0" fmla="*/ 989038 w 3212389"/>
              <a:gd name="connsiteY0" fmla="*/ 403611 h 3386591"/>
              <a:gd name="connsiteX1" fmla="*/ 16581 w 3212389"/>
              <a:gd name="connsiteY1" fmla="*/ 2493668 h 3386591"/>
              <a:gd name="connsiteX2" fmla="*/ 1816352 w 3212389"/>
              <a:gd name="connsiteY2" fmla="*/ 3379039 h 3386591"/>
              <a:gd name="connsiteX3" fmla="*/ 3209724 w 3212389"/>
              <a:gd name="connsiteY3" fmla="*/ 2058239 h 3386591"/>
              <a:gd name="connsiteX4" fmla="*/ 2135667 w 3212389"/>
              <a:gd name="connsiteY4" fmla="*/ 142354 h 3386591"/>
              <a:gd name="connsiteX5" fmla="*/ 989038 w 3212389"/>
              <a:gd name="connsiteY5" fmla="*/ 403611 h 3386591"/>
              <a:gd name="connsiteX0" fmla="*/ 999424 w 3222775"/>
              <a:gd name="connsiteY0" fmla="*/ 403611 h 2973278"/>
              <a:gd name="connsiteX1" fmla="*/ 26967 w 3222775"/>
              <a:gd name="connsiteY1" fmla="*/ 2493668 h 2973278"/>
              <a:gd name="connsiteX2" fmla="*/ 2102140 w 3222775"/>
              <a:gd name="connsiteY2" fmla="*/ 2952249 h 2973278"/>
              <a:gd name="connsiteX3" fmla="*/ 3220110 w 3222775"/>
              <a:gd name="connsiteY3" fmla="*/ 2058239 h 2973278"/>
              <a:gd name="connsiteX4" fmla="*/ 2146053 w 3222775"/>
              <a:gd name="connsiteY4" fmla="*/ 142354 h 2973278"/>
              <a:gd name="connsiteX5" fmla="*/ 999424 w 3222775"/>
              <a:gd name="connsiteY5" fmla="*/ 403611 h 2973278"/>
              <a:gd name="connsiteX0" fmla="*/ 786584 w 3243745"/>
              <a:gd name="connsiteY0" fmla="*/ 311455 h 3046268"/>
              <a:gd name="connsiteX1" fmla="*/ 47803 w 3243745"/>
              <a:gd name="connsiteY1" fmla="*/ 2564099 h 3046268"/>
              <a:gd name="connsiteX2" fmla="*/ 2122976 w 3243745"/>
              <a:gd name="connsiteY2" fmla="*/ 3022680 h 3046268"/>
              <a:gd name="connsiteX3" fmla="*/ 3240946 w 3243745"/>
              <a:gd name="connsiteY3" fmla="*/ 2128670 h 3046268"/>
              <a:gd name="connsiteX4" fmla="*/ 2166889 w 3243745"/>
              <a:gd name="connsiteY4" fmla="*/ 212785 h 3046268"/>
              <a:gd name="connsiteX5" fmla="*/ 786584 w 3243745"/>
              <a:gd name="connsiteY5" fmla="*/ 311455 h 3046268"/>
              <a:gd name="connsiteX0" fmla="*/ 794782 w 3282189"/>
              <a:gd name="connsiteY0" fmla="*/ 337202 h 3072015"/>
              <a:gd name="connsiteX1" fmla="*/ 56001 w 3282189"/>
              <a:gd name="connsiteY1" fmla="*/ 2589846 h 3072015"/>
              <a:gd name="connsiteX2" fmla="*/ 2131174 w 3282189"/>
              <a:gd name="connsiteY2" fmla="*/ 3048427 h 3072015"/>
              <a:gd name="connsiteX3" fmla="*/ 3249144 w 3282189"/>
              <a:gd name="connsiteY3" fmla="*/ 2154417 h 3072015"/>
              <a:gd name="connsiteX4" fmla="*/ 2934531 w 3282189"/>
              <a:gd name="connsiteY4" fmla="*/ 197884 h 3072015"/>
              <a:gd name="connsiteX5" fmla="*/ 794782 w 3282189"/>
              <a:gd name="connsiteY5" fmla="*/ 337202 h 3072015"/>
              <a:gd name="connsiteX0" fmla="*/ 752066 w 3239474"/>
              <a:gd name="connsiteY0" fmla="*/ 337202 h 3303589"/>
              <a:gd name="connsiteX1" fmla="*/ 13285 w 3239474"/>
              <a:gd name="connsiteY1" fmla="*/ 2589846 h 3303589"/>
              <a:gd name="connsiteX2" fmla="*/ 1270595 w 3239474"/>
              <a:gd name="connsiteY2" fmla="*/ 3292305 h 3303589"/>
              <a:gd name="connsiteX3" fmla="*/ 3206428 w 3239474"/>
              <a:gd name="connsiteY3" fmla="*/ 2154417 h 3303589"/>
              <a:gd name="connsiteX4" fmla="*/ 2891815 w 3239474"/>
              <a:gd name="connsiteY4" fmla="*/ 197884 h 3303589"/>
              <a:gd name="connsiteX5" fmla="*/ 752066 w 3239474"/>
              <a:gd name="connsiteY5" fmla="*/ 337202 h 3303589"/>
              <a:gd name="connsiteX0" fmla="*/ 781294 w 3268702"/>
              <a:gd name="connsiteY0" fmla="*/ 337202 h 3185838"/>
              <a:gd name="connsiteX1" fmla="*/ 42513 w 3268702"/>
              <a:gd name="connsiteY1" fmla="*/ 2589846 h 3185838"/>
              <a:gd name="connsiteX2" fmla="*/ 1884011 w 3268702"/>
              <a:gd name="connsiteY2" fmla="*/ 3170365 h 3185838"/>
              <a:gd name="connsiteX3" fmla="*/ 3235656 w 3268702"/>
              <a:gd name="connsiteY3" fmla="*/ 2154417 h 3185838"/>
              <a:gd name="connsiteX4" fmla="*/ 2921043 w 3268702"/>
              <a:gd name="connsiteY4" fmla="*/ 197884 h 3185838"/>
              <a:gd name="connsiteX5" fmla="*/ 781294 w 3268702"/>
              <a:gd name="connsiteY5" fmla="*/ 337202 h 3185838"/>
              <a:gd name="connsiteX0" fmla="*/ 531199 w 3340200"/>
              <a:gd name="connsiteY0" fmla="*/ 205149 h 3402802"/>
              <a:gd name="connsiteX1" fmla="*/ 101762 w 3340200"/>
              <a:gd name="connsiteY1" fmla="*/ 2803290 h 3402802"/>
              <a:gd name="connsiteX2" fmla="*/ 1943260 w 3340200"/>
              <a:gd name="connsiteY2" fmla="*/ 3383809 h 3402802"/>
              <a:gd name="connsiteX3" fmla="*/ 3294905 w 3340200"/>
              <a:gd name="connsiteY3" fmla="*/ 2367861 h 3402802"/>
              <a:gd name="connsiteX4" fmla="*/ 2980292 w 3340200"/>
              <a:gd name="connsiteY4" fmla="*/ 411328 h 3402802"/>
              <a:gd name="connsiteX5" fmla="*/ 531199 w 3340200"/>
              <a:gd name="connsiteY5" fmla="*/ 205149 h 3402802"/>
              <a:gd name="connsiteX0" fmla="*/ 515406 w 3283081"/>
              <a:gd name="connsiteY0" fmla="*/ 419999 h 3617652"/>
              <a:gd name="connsiteX1" fmla="*/ 85969 w 3283081"/>
              <a:gd name="connsiteY1" fmla="*/ 3018140 h 3617652"/>
              <a:gd name="connsiteX2" fmla="*/ 1927467 w 3283081"/>
              <a:gd name="connsiteY2" fmla="*/ 3598659 h 3617652"/>
              <a:gd name="connsiteX3" fmla="*/ 3279112 w 3283081"/>
              <a:gd name="connsiteY3" fmla="*/ 2582711 h 3617652"/>
              <a:gd name="connsiteX4" fmla="*/ 2380182 w 3283081"/>
              <a:gd name="connsiteY4" fmla="*/ 219712 h 3617652"/>
              <a:gd name="connsiteX5" fmla="*/ 515406 w 3283081"/>
              <a:gd name="connsiteY5" fmla="*/ 419999 h 3617652"/>
              <a:gd name="connsiteX0" fmla="*/ 515406 w 3036322"/>
              <a:gd name="connsiteY0" fmla="*/ 466666 h 3687655"/>
              <a:gd name="connsiteX1" fmla="*/ 85969 w 3036322"/>
              <a:gd name="connsiteY1" fmla="*/ 3064807 h 3687655"/>
              <a:gd name="connsiteX2" fmla="*/ 1927467 w 3036322"/>
              <a:gd name="connsiteY2" fmla="*/ 3645326 h 3687655"/>
              <a:gd name="connsiteX3" fmla="*/ 3029918 w 3036322"/>
              <a:gd name="connsiteY3" fmla="*/ 3279721 h 3687655"/>
              <a:gd name="connsiteX4" fmla="*/ 2380182 w 3036322"/>
              <a:gd name="connsiteY4" fmla="*/ 266379 h 3687655"/>
              <a:gd name="connsiteX5" fmla="*/ 515406 w 3036322"/>
              <a:gd name="connsiteY5" fmla="*/ 466666 h 3687655"/>
              <a:gd name="connsiteX0" fmla="*/ 515406 w 2629813"/>
              <a:gd name="connsiteY0" fmla="*/ 436466 h 3621721"/>
              <a:gd name="connsiteX1" fmla="*/ 85969 w 2629813"/>
              <a:gd name="connsiteY1" fmla="*/ 3034607 h 3621721"/>
              <a:gd name="connsiteX2" fmla="*/ 1927467 w 2629813"/>
              <a:gd name="connsiteY2" fmla="*/ 3615126 h 3621721"/>
              <a:gd name="connsiteX3" fmla="*/ 2576615 w 2629813"/>
              <a:gd name="connsiteY3" fmla="*/ 2829630 h 3621721"/>
              <a:gd name="connsiteX4" fmla="*/ 2380182 w 2629813"/>
              <a:gd name="connsiteY4" fmla="*/ 236179 h 3621721"/>
              <a:gd name="connsiteX5" fmla="*/ 515406 w 2629813"/>
              <a:gd name="connsiteY5" fmla="*/ 436466 h 3621721"/>
              <a:gd name="connsiteX0" fmla="*/ 492431 w 2638658"/>
              <a:gd name="connsiteY0" fmla="*/ 239273 h 3923488"/>
              <a:gd name="connsiteX1" fmla="*/ 93214 w 2638658"/>
              <a:gd name="connsiteY1" fmla="*/ 3331403 h 3923488"/>
              <a:gd name="connsiteX2" fmla="*/ 1934712 w 2638658"/>
              <a:gd name="connsiteY2" fmla="*/ 3911922 h 3923488"/>
              <a:gd name="connsiteX3" fmla="*/ 2583860 w 2638658"/>
              <a:gd name="connsiteY3" fmla="*/ 3126426 h 3923488"/>
              <a:gd name="connsiteX4" fmla="*/ 2387427 w 2638658"/>
              <a:gd name="connsiteY4" fmla="*/ 532975 h 3923488"/>
              <a:gd name="connsiteX5" fmla="*/ 492431 w 2638658"/>
              <a:gd name="connsiteY5" fmla="*/ 239273 h 3923488"/>
              <a:gd name="connsiteX0" fmla="*/ 347509 w 2493736"/>
              <a:gd name="connsiteY0" fmla="*/ 206520 h 3882854"/>
              <a:gd name="connsiteX1" fmla="*/ 129614 w 2493736"/>
              <a:gd name="connsiteY1" fmla="*/ 2854061 h 3882854"/>
              <a:gd name="connsiteX2" fmla="*/ 1789790 w 2493736"/>
              <a:gd name="connsiteY2" fmla="*/ 3879169 h 3882854"/>
              <a:gd name="connsiteX3" fmla="*/ 2438938 w 2493736"/>
              <a:gd name="connsiteY3" fmla="*/ 3093673 h 3882854"/>
              <a:gd name="connsiteX4" fmla="*/ 2242505 w 2493736"/>
              <a:gd name="connsiteY4" fmla="*/ 500222 h 3882854"/>
              <a:gd name="connsiteX5" fmla="*/ 347509 w 2493736"/>
              <a:gd name="connsiteY5" fmla="*/ 206520 h 3882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3736" h="3882854" extrusionOk="0">
                <a:moveTo>
                  <a:pt x="347509" y="206520"/>
                </a:moveTo>
                <a:cubicBezTo>
                  <a:pt x="-4639" y="598827"/>
                  <a:pt x="-110766" y="2241953"/>
                  <a:pt x="129614" y="2854061"/>
                </a:cubicBezTo>
                <a:cubicBezTo>
                  <a:pt x="369994" y="3466169"/>
                  <a:pt x="1404903" y="3839234"/>
                  <a:pt x="1789790" y="3879169"/>
                </a:cubicBezTo>
                <a:cubicBezTo>
                  <a:pt x="2174677" y="3919104"/>
                  <a:pt x="2385719" y="3633120"/>
                  <a:pt x="2438938" y="3093673"/>
                </a:cubicBezTo>
                <a:cubicBezTo>
                  <a:pt x="2492157" y="2554226"/>
                  <a:pt x="2591077" y="981414"/>
                  <a:pt x="2242505" y="500222"/>
                </a:cubicBezTo>
                <a:cubicBezTo>
                  <a:pt x="1893934" y="19030"/>
                  <a:pt x="699658" y="-185787"/>
                  <a:pt x="347509" y="206520"/>
                </a:cubicBezTo>
                <a:close/>
              </a:path>
            </a:pathLst>
          </a:custGeom>
          <a:solidFill>
            <a:srgbClr val="1C4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33" b="1" dirty="0">
                <a:solidFill>
                  <a:schemeClr val="bg1"/>
                </a:solidFill>
                <a:latin typeface="Marianne" panose="02000000000000000000" pitchFamily="2" charset="0"/>
              </a:rPr>
              <a:t>Thème</a:t>
            </a:r>
          </a:p>
        </p:txBody>
      </p:sp>
      <p:sp>
        <p:nvSpPr>
          <p:cNvPr id="5" name="Rectangle : coins arrondis 4">
            <a:extLst>
              <a:ext uri="{FF2B5EF4-FFF2-40B4-BE49-F238E27FC236}">
                <a16:creationId xmlns:a16="http://schemas.microsoft.com/office/drawing/2014/main" id="{F588B4E6-6A14-45D4-8ACD-FDD5CFC8DD07}"/>
              </a:ext>
            </a:extLst>
          </p:cNvPr>
          <p:cNvSpPr/>
          <p:nvPr/>
        </p:nvSpPr>
        <p:spPr>
          <a:xfrm>
            <a:off x="4666396" y="127350"/>
            <a:ext cx="5019864" cy="566806"/>
          </a:xfrm>
          <a:prstGeom prst="roundRect">
            <a:avLst/>
          </a:prstGeom>
          <a:solidFill>
            <a:srgbClr val="1C4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133" i="1" dirty="0">
                <a:solidFill>
                  <a:schemeClr val="bg1"/>
                </a:solidFill>
                <a:latin typeface="Marianne" panose="02000000000000000000" pitchFamily="2" charset="0"/>
              </a:rPr>
              <a:t>Modèle de fiche détaillée (1/2) – Titre de l’initiative</a:t>
            </a:r>
          </a:p>
        </p:txBody>
      </p:sp>
      <p:sp>
        <p:nvSpPr>
          <p:cNvPr id="24" name="Espace réservé du numéro de diapositive 3">
            <a:extLst>
              <a:ext uri="{FF2B5EF4-FFF2-40B4-BE49-F238E27FC236}">
                <a16:creationId xmlns:a16="http://schemas.microsoft.com/office/drawing/2014/main" id="{C7941A5A-6DE9-405D-8C5F-BFA49CFF464D}"/>
              </a:ext>
            </a:extLst>
          </p:cNvPr>
          <p:cNvSpPr txBox="1">
            <a:spLocks/>
          </p:cNvSpPr>
          <p:nvPr/>
        </p:nvSpPr>
        <p:spPr bwMode="auto">
          <a:xfrm>
            <a:off x="11468947" y="6572391"/>
            <a:ext cx="723053" cy="312904"/>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fr-FR" sz="1000" b="1"/>
              <a:pPr/>
              <a:t>6</a:t>
            </a:fld>
            <a:endParaRPr lang="fr-FR" sz="1000" b="1" dirty="0"/>
          </a:p>
        </p:txBody>
      </p:sp>
      <p:pic>
        <p:nvPicPr>
          <p:cNvPr id="7" name="Image 6" descr="Une image contenant texte, Police, Graphique, logo&#10;&#10;Description générée automatiquement">
            <a:extLst>
              <a:ext uri="{FF2B5EF4-FFF2-40B4-BE49-F238E27FC236}">
                <a16:creationId xmlns:a16="http://schemas.microsoft.com/office/drawing/2014/main" id="{BA556937-13A0-77A6-C5D2-4880B5FCEC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105033" y="54635"/>
            <a:ext cx="3356806" cy="928045"/>
          </a:xfrm>
          <a:prstGeom prst="rect">
            <a:avLst/>
          </a:prstGeom>
        </p:spPr>
      </p:pic>
    </p:spTree>
    <p:extLst>
      <p:ext uri="{BB962C8B-B14F-4D97-AF65-F5344CB8AC3E}">
        <p14:creationId xmlns:p14="http://schemas.microsoft.com/office/powerpoint/2010/main" val="2188129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79" name="Rectangle 78"/>
          <p:cNvSpPr/>
          <p:nvPr/>
        </p:nvSpPr>
        <p:spPr bwMode="auto">
          <a:xfrm>
            <a:off x="335362" y="6031779"/>
            <a:ext cx="11593087" cy="4519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Marianne" panose="02000000000000000000" pitchFamily="2" charset="0"/>
            </a:endParaRPr>
          </a:p>
        </p:txBody>
      </p:sp>
      <p:sp>
        <p:nvSpPr>
          <p:cNvPr id="3" name="Rectangle 2"/>
          <p:cNvSpPr/>
          <p:nvPr/>
        </p:nvSpPr>
        <p:spPr>
          <a:xfrm>
            <a:off x="11682333" y="2944818"/>
            <a:ext cx="304940" cy="3556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Marianne" panose="02000000000000000000" pitchFamily="2" charset="0"/>
            </a:endParaRPr>
          </a:p>
        </p:txBody>
      </p:sp>
      <p:sp>
        <p:nvSpPr>
          <p:cNvPr id="2" name="Rectangle à coins arrondis 1"/>
          <p:cNvSpPr/>
          <p:nvPr/>
        </p:nvSpPr>
        <p:spPr>
          <a:xfrm>
            <a:off x="204727" y="1339329"/>
            <a:ext cx="11874264" cy="5350456"/>
          </a:xfrm>
          <a:prstGeom prst="roundRect">
            <a:avLst>
              <a:gd name="adj" fmla="val 4731"/>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Marianne" panose="02000000000000000000" pitchFamily="2" charset="0"/>
            </a:endParaRPr>
          </a:p>
        </p:txBody>
      </p:sp>
      <p:sp>
        <p:nvSpPr>
          <p:cNvPr id="1584684405" name="Rectangle 56"/>
          <p:cNvSpPr/>
          <p:nvPr/>
        </p:nvSpPr>
        <p:spPr bwMode="auto">
          <a:xfrm>
            <a:off x="8020627" y="1452295"/>
            <a:ext cx="3784693" cy="1821791"/>
          </a:xfrm>
          <a:prstGeom prst="rect">
            <a:avLst/>
          </a:prstGeom>
          <a:solidFill>
            <a:schemeClr val="bg1"/>
          </a:solidFill>
          <a:ln w="3175">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594" indent="-228594" algn="just">
              <a:spcAft>
                <a:spcPts val="800"/>
              </a:spcAft>
              <a:buClr>
                <a:srgbClr val="00B050"/>
              </a:buClr>
              <a:buFont typeface="Wingdings" panose="05000000000000000000" pitchFamily="2" charset="2"/>
              <a:buChar char="ü"/>
              <a:defRPr/>
            </a:pPr>
            <a:r>
              <a:rPr lang="fr-FR" sz="1067" dirty="0">
                <a:solidFill>
                  <a:schemeClr val="tx1"/>
                </a:solidFill>
                <a:latin typeface="Marianne" panose="02000000000000000000" pitchFamily="2" charset="0"/>
              </a:rPr>
              <a:t>xx</a:t>
            </a:r>
          </a:p>
        </p:txBody>
      </p:sp>
      <p:sp>
        <p:nvSpPr>
          <p:cNvPr id="1229875480" name="Rectangle 53"/>
          <p:cNvSpPr/>
          <p:nvPr/>
        </p:nvSpPr>
        <p:spPr bwMode="auto">
          <a:xfrm>
            <a:off x="8020627" y="1229843"/>
            <a:ext cx="3111861" cy="383759"/>
          </a:xfrm>
          <a:prstGeom prst="roundRect">
            <a:avLst/>
          </a:prstGeom>
          <a:solidFill>
            <a:schemeClr val="bg1"/>
          </a:solidFill>
          <a:ln w="6350">
            <a:solidFill>
              <a:schemeClr val="accent3">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a:defRPr/>
            </a:pPr>
            <a:r>
              <a:rPr lang="fr-FR" sz="1467" b="1" dirty="0">
                <a:solidFill>
                  <a:srgbClr val="1C408E"/>
                </a:solidFill>
                <a:latin typeface="Marianne" panose="02000000000000000000" pitchFamily="2" charset="0"/>
              </a:rPr>
              <a:t>Conseils « Pour que ça marche »</a:t>
            </a:r>
            <a:endParaRPr sz="2400" dirty="0">
              <a:solidFill>
                <a:srgbClr val="1C408E"/>
              </a:solidFill>
              <a:latin typeface="Marianne" panose="02000000000000000000" pitchFamily="2" charset="0"/>
            </a:endParaRPr>
          </a:p>
        </p:txBody>
      </p:sp>
      <p:sp>
        <p:nvSpPr>
          <p:cNvPr id="405614902" name="Rectangle 64"/>
          <p:cNvSpPr/>
          <p:nvPr/>
        </p:nvSpPr>
        <p:spPr bwMode="auto">
          <a:xfrm>
            <a:off x="5143261" y="1452292"/>
            <a:ext cx="2765231" cy="4774655"/>
          </a:xfrm>
          <a:prstGeom prst="rect">
            <a:avLst/>
          </a:prstGeom>
          <a:solidFill>
            <a:schemeClr val="bg1"/>
          </a:solidFill>
          <a:ln w="3175">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Font typeface="Arial"/>
              <a:buChar char="•"/>
              <a:defRPr/>
            </a:pPr>
            <a:endParaRPr lang="fr-FR" sz="1333" dirty="0">
              <a:solidFill>
                <a:schemeClr val="tx1"/>
              </a:solidFill>
              <a:latin typeface="Marianne" panose="02000000000000000000" pitchFamily="2" charset="0"/>
            </a:endParaRPr>
          </a:p>
        </p:txBody>
      </p:sp>
      <p:sp>
        <p:nvSpPr>
          <p:cNvPr id="634916884" name="Rectangle 79"/>
          <p:cNvSpPr/>
          <p:nvPr/>
        </p:nvSpPr>
        <p:spPr bwMode="auto">
          <a:xfrm>
            <a:off x="5143261" y="1229841"/>
            <a:ext cx="2443608" cy="383760"/>
          </a:xfrm>
          <a:prstGeom prst="roundRect">
            <a:avLst/>
          </a:prstGeom>
          <a:solidFill>
            <a:srgbClr val="FFFFFF"/>
          </a:solidFill>
          <a:ln w="6350">
            <a:solidFill>
              <a:schemeClr val="accent3">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a:defRPr/>
            </a:pPr>
            <a:r>
              <a:rPr lang="fr-FR" sz="1467" b="1" dirty="0">
                <a:solidFill>
                  <a:srgbClr val="1C408E"/>
                </a:solidFill>
                <a:latin typeface="Marianne" panose="02000000000000000000" pitchFamily="2" charset="0"/>
              </a:rPr>
              <a:t>Résultats et perspectives d’évolutions</a:t>
            </a:r>
            <a:endParaRPr sz="2400" dirty="0">
              <a:solidFill>
                <a:srgbClr val="1C408E"/>
              </a:solidFill>
              <a:latin typeface="Marianne" panose="02000000000000000000" pitchFamily="2" charset="0"/>
            </a:endParaRPr>
          </a:p>
        </p:txBody>
      </p:sp>
      <p:sp>
        <p:nvSpPr>
          <p:cNvPr id="1106517336" name="ZoneTexte 84"/>
          <p:cNvSpPr txBox="1"/>
          <p:nvPr/>
        </p:nvSpPr>
        <p:spPr bwMode="auto">
          <a:xfrm>
            <a:off x="5143262" y="3909054"/>
            <a:ext cx="2765229" cy="430631"/>
          </a:xfrm>
          <a:prstGeom prst="rect">
            <a:avLst/>
          </a:prstGeom>
          <a:noFill/>
        </p:spPr>
        <p:txBody>
          <a:bodyPr wrap="square" rtlCol="0">
            <a:spAutoFit/>
          </a:bodyPr>
          <a:lstStyle/>
          <a:p>
            <a:pPr algn="just">
              <a:lnSpc>
                <a:spcPct val="106000"/>
              </a:lnSpc>
            </a:pPr>
            <a:r>
              <a:rPr lang="fr-FR" sz="1067" b="1" dirty="0">
                <a:solidFill>
                  <a:srgbClr val="1C408E"/>
                </a:solidFill>
                <a:latin typeface="Marianne" panose="02000000000000000000" pitchFamily="2" charset="0"/>
              </a:rPr>
              <a:t>Perspectives d’évolution</a:t>
            </a:r>
          </a:p>
          <a:p>
            <a:pPr marL="228594" indent="-228594" algn="just">
              <a:buFont typeface="Arial" panose="020B0604020202020204" pitchFamily="34" charset="0"/>
              <a:buChar char="•"/>
            </a:pPr>
            <a:r>
              <a:rPr lang="fr-FR" sz="1067" dirty="0">
                <a:latin typeface="Marianne" panose="02000000000000000000" pitchFamily="2" charset="0"/>
              </a:rPr>
              <a:t>xx</a:t>
            </a:r>
          </a:p>
        </p:txBody>
      </p:sp>
      <p:sp>
        <p:nvSpPr>
          <p:cNvPr id="80" name="Rectangle 56"/>
          <p:cNvSpPr/>
          <p:nvPr/>
        </p:nvSpPr>
        <p:spPr bwMode="auto">
          <a:xfrm>
            <a:off x="8020627" y="3517130"/>
            <a:ext cx="3784692" cy="2443600"/>
          </a:xfrm>
          <a:prstGeom prst="rect">
            <a:avLst/>
          </a:prstGeom>
          <a:solidFill>
            <a:schemeClr val="bg1"/>
          </a:solidFill>
          <a:ln w="3175">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92000" rtlCol="0" anchor="ctr"/>
          <a:lstStyle/>
          <a:p>
            <a:pPr marL="228594" indent="-228594" algn="just">
              <a:spcAft>
                <a:spcPts val="267"/>
              </a:spcAft>
              <a:buClr>
                <a:srgbClr val="FF0000"/>
              </a:buClr>
              <a:buFontTx/>
              <a:buChar char="x"/>
              <a:defRPr/>
            </a:pPr>
            <a:r>
              <a:rPr lang="fr-FR" sz="1067" dirty="0">
                <a:solidFill>
                  <a:schemeClr val="tx1"/>
                </a:solidFill>
                <a:latin typeface="Marianne" panose="02000000000000000000" pitchFamily="2" charset="0"/>
              </a:rPr>
              <a:t>xx</a:t>
            </a:r>
          </a:p>
        </p:txBody>
      </p:sp>
      <p:sp>
        <p:nvSpPr>
          <p:cNvPr id="81" name="Rectangle 53"/>
          <p:cNvSpPr/>
          <p:nvPr/>
        </p:nvSpPr>
        <p:spPr bwMode="auto">
          <a:xfrm>
            <a:off x="8020627" y="3342782"/>
            <a:ext cx="3085228" cy="383759"/>
          </a:xfrm>
          <a:prstGeom prst="roundRect">
            <a:avLst/>
          </a:prstGeom>
          <a:solidFill>
            <a:srgbClr val="FFFFFF"/>
          </a:solidFill>
          <a:ln w="6350">
            <a:solidFill>
              <a:schemeClr val="accent3">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a:defRPr/>
            </a:pPr>
            <a:r>
              <a:rPr lang="fr-FR" sz="1467" b="1" dirty="0">
                <a:solidFill>
                  <a:srgbClr val="1C408E"/>
                </a:solidFill>
                <a:latin typeface="Marianne" panose="02000000000000000000" pitchFamily="2" charset="0"/>
              </a:rPr>
              <a:t>Difficultés rencontrées</a:t>
            </a:r>
            <a:endParaRPr sz="2400" dirty="0">
              <a:solidFill>
                <a:srgbClr val="1C408E"/>
              </a:solidFill>
              <a:latin typeface="Marianne" panose="02000000000000000000" pitchFamily="2" charset="0"/>
            </a:endParaRPr>
          </a:p>
        </p:txBody>
      </p:sp>
      <p:sp>
        <p:nvSpPr>
          <p:cNvPr id="33" name="Rectangle 56">
            <a:extLst>
              <a:ext uri="{FF2B5EF4-FFF2-40B4-BE49-F238E27FC236}">
                <a16:creationId xmlns:a16="http://schemas.microsoft.com/office/drawing/2014/main" id="{55B87BDB-6D50-48C5-B3A1-C1407CAA9178}"/>
              </a:ext>
            </a:extLst>
          </p:cNvPr>
          <p:cNvSpPr/>
          <p:nvPr/>
        </p:nvSpPr>
        <p:spPr bwMode="auto">
          <a:xfrm>
            <a:off x="348065" y="4693509"/>
            <a:ext cx="4691817" cy="1533439"/>
          </a:xfrm>
          <a:prstGeom prst="rect">
            <a:avLst/>
          </a:prstGeom>
          <a:solidFill>
            <a:schemeClr val="bg1"/>
          </a:solidFill>
          <a:ln w="3175">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92000" rtlCol="0" anchor="t"/>
          <a:lstStyle/>
          <a:p>
            <a:pPr algn="just"/>
            <a:r>
              <a:rPr lang="fr-FR" sz="1067" b="1" dirty="0">
                <a:solidFill>
                  <a:srgbClr val="1C408E"/>
                </a:solidFill>
                <a:latin typeface="Marianne" panose="02000000000000000000" pitchFamily="2" charset="0"/>
              </a:rPr>
              <a:t>Equipes mobilisées</a:t>
            </a:r>
          </a:p>
          <a:p>
            <a:pPr marL="228594" indent="-228594" algn="just">
              <a:buFont typeface="Arial" panose="020B0604020202020204" pitchFamily="34" charset="0"/>
              <a:buChar char="•"/>
            </a:pPr>
            <a:r>
              <a:rPr lang="fr-FR" sz="1067" dirty="0">
                <a:solidFill>
                  <a:schemeClr val="tx1"/>
                </a:solidFill>
                <a:latin typeface="Marianne" panose="02000000000000000000" pitchFamily="2" charset="0"/>
              </a:rPr>
              <a:t>xx</a:t>
            </a:r>
          </a:p>
          <a:p>
            <a:pPr algn="just"/>
            <a:endParaRPr lang="fr-FR" sz="1067" b="1" dirty="0">
              <a:solidFill>
                <a:schemeClr val="accent3">
                  <a:lumMod val="50000"/>
                </a:schemeClr>
              </a:solidFill>
              <a:latin typeface="Marianne" panose="02000000000000000000" pitchFamily="2" charset="0"/>
            </a:endParaRPr>
          </a:p>
          <a:p>
            <a:pPr algn="just"/>
            <a:r>
              <a:rPr lang="fr-FR" sz="1067" b="1" dirty="0">
                <a:solidFill>
                  <a:srgbClr val="1C408E"/>
                </a:solidFill>
                <a:latin typeface="Marianne" panose="02000000000000000000" pitchFamily="2" charset="0"/>
              </a:rPr>
              <a:t>Infrastructure/lieu d’accueil</a:t>
            </a:r>
          </a:p>
          <a:p>
            <a:pPr marL="228594" indent="-228594" algn="just">
              <a:buFont typeface="Arial" panose="020B0604020202020204" pitchFamily="34" charset="0"/>
              <a:buChar char="•"/>
            </a:pPr>
            <a:r>
              <a:rPr lang="fr-FR" sz="1067" dirty="0">
                <a:solidFill>
                  <a:srgbClr val="000000"/>
                </a:solidFill>
                <a:latin typeface="Marianne" panose="02000000000000000000" pitchFamily="2" charset="0"/>
              </a:rPr>
              <a:t>xx</a:t>
            </a:r>
            <a:endParaRPr lang="fr-FR" sz="1067" dirty="0">
              <a:solidFill>
                <a:schemeClr val="tx1"/>
              </a:solidFill>
              <a:latin typeface="Marianne" panose="02000000000000000000" pitchFamily="2" charset="0"/>
            </a:endParaRPr>
          </a:p>
        </p:txBody>
      </p:sp>
      <p:sp>
        <p:nvSpPr>
          <p:cNvPr id="34" name="Rectangle 53">
            <a:extLst>
              <a:ext uri="{FF2B5EF4-FFF2-40B4-BE49-F238E27FC236}">
                <a16:creationId xmlns:a16="http://schemas.microsoft.com/office/drawing/2014/main" id="{62EB304C-18C4-4C05-AC65-1879E9523A47}"/>
              </a:ext>
            </a:extLst>
          </p:cNvPr>
          <p:cNvSpPr/>
          <p:nvPr/>
        </p:nvSpPr>
        <p:spPr bwMode="auto">
          <a:xfrm>
            <a:off x="348066" y="4444584"/>
            <a:ext cx="3067453" cy="384000"/>
          </a:xfrm>
          <a:prstGeom prst="roundRect">
            <a:avLst/>
          </a:prstGeom>
          <a:solidFill>
            <a:schemeClr val="bg1"/>
          </a:solidFill>
          <a:ln w="6350">
            <a:solidFill>
              <a:schemeClr val="accent3">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a:defRPr/>
            </a:pPr>
            <a:r>
              <a:rPr lang="fr-FR" sz="1467" b="1" dirty="0">
                <a:solidFill>
                  <a:srgbClr val="1C408E"/>
                </a:solidFill>
                <a:latin typeface="Marianne" panose="02000000000000000000" pitchFamily="2" charset="0"/>
              </a:rPr>
              <a:t>Moyens nécessaires</a:t>
            </a:r>
            <a:endParaRPr sz="2400" dirty="0">
              <a:solidFill>
                <a:srgbClr val="1C408E"/>
              </a:solidFill>
              <a:latin typeface="Marianne" panose="02000000000000000000" pitchFamily="2" charset="0"/>
            </a:endParaRPr>
          </a:p>
        </p:txBody>
      </p:sp>
      <p:sp>
        <p:nvSpPr>
          <p:cNvPr id="64" name="ZoneTexte 84">
            <a:extLst>
              <a:ext uri="{FF2B5EF4-FFF2-40B4-BE49-F238E27FC236}">
                <a16:creationId xmlns:a16="http://schemas.microsoft.com/office/drawing/2014/main" id="{5BB291EC-F625-4DB1-8FAA-D76CD66E5D6A}"/>
              </a:ext>
            </a:extLst>
          </p:cNvPr>
          <p:cNvSpPr txBox="1"/>
          <p:nvPr/>
        </p:nvSpPr>
        <p:spPr bwMode="auto">
          <a:xfrm>
            <a:off x="5143262" y="1750593"/>
            <a:ext cx="2765229" cy="533223"/>
          </a:xfrm>
          <a:prstGeom prst="rect">
            <a:avLst/>
          </a:prstGeom>
          <a:noFill/>
        </p:spPr>
        <p:txBody>
          <a:bodyPr wrap="square" rtlCol="0">
            <a:spAutoFit/>
          </a:bodyPr>
          <a:lstStyle/>
          <a:p>
            <a:pPr algn="just">
              <a:lnSpc>
                <a:spcPct val="106000"/>
              </a:lnSpc>
              <a:spcBef>
                <a:spcPts val="800"/>
              </a:spcBef>
            </a:pPr>
            <a:r>
              <a:rPr lang="fr-FR" sz="1067" b="1" dirty="0">
                <a:solidFill>
                  <a:srgbClr val="1C408E"/>
                </a:solidFill>
                <a:latin typeface="Marianne" panose="02000000000000000000" pitchFamily="2" charset="0"/>
              </a:rPr>
              <a:t>Bénéfices </a:t>
            </a:r>
            <a:endParaRPr lang="fr-FR" sz="1067" dirty="0">
              <a:solidFill>
                <a:srgbClr val="1C408E"/>
              </a:solidFill>
              <a:latin typeface="Marianne" panose="02000000000000000000" pitchFamily="2" charset="0"/>
              <a:ea typeface="Times New Roman" panose="02020603050405020304" pitchFamily="18" charset="0"/>
            </a:endParaRPr>
          </a:p>
          <a:p>
            <a:pPr marL="228594" indent="-228594" algn="just">
              <a:spcBef>
                <a:spcPts val="800"/>
              </a:spcBef>
              <a:buFont typeface="Arial" panose="020B0604020202020204" pitchFamily="34" charset="0"/>
              <a:buChar char="•"/>
            </a:pPr>
            <a:r>
              <a:rPr lang="fr-FR" sz="1067" dirty="0">
                <a:latin typeface="Marianne" panose="02000000000000000000" pitchFamily="2" charset="0"/>
              </a:rPr>
              <a:t>xx</a:t>
            </a:r>
            <a:endParaRPr lang="fr-FR" sz="1067" dirty="0">
              <a:latin typeface="Marianne" panose="02000000000000000000" pitchFamily="2" charset="0"/>
              <a:ea typeface="Times New Roman" panose="02020603050405020304" pitchFamily="18" charset="0"/>
            </a:endParaRPr>
          </a:p>
        </p:txBody>
      </p:sp>
      <p:sp>
        <p:nvSpPr>
          <p:cNvPr id="31" name="Rectangle 56">
            <a:extLst>
              <a:ext uri="{FF2B5EF4-FFF2-40B4-BE49-F238E27FC236}">
                <a16:creationId xmlns:a16="http://schemas.microsoft.com/office/drawing/2014/main" id="{6A177AA9-F0E3-4342-BE0B-DC9ACCA4B009}"/>
              </a:ext>
            </a:extLst>
          </p:cNvPr>
          <p:cNvSpPr/>
          <p:nvPr/>
        </p:nvSpPr>
        <p:spPr bwMode="auto">
          <a:xfrm>
            <a:off x="348066" y="1452293"/>
            <a:ext cx="4691817" cy="2930884"/>
          </a:xfrm>
          <a:prstGeom prst="rect">
            <a:avLst/>
          </a:prstGeom>
          <a:solidFill>
            <a:schemeClr val="bg1"/>
          </a:solidFill>
          <a:ln w="3175">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92000" rtlCol="0" anchor="ctr"/>
          <a:lstStyle/>
          <a:p>
            <a:pPr marL="228594" indent="-228594" algn="just">
              <a:spcAft>
                <a:spcPts val="267"/>
              </a:spcAft>
              <a:buFont typeface="Arial" panose="020B0604020202020204" pitchFamily="34" charset="0"/>
              <a:buChar char="•"/>
            </a:pPr>
            <a:r>
              <a:rPr lang="fr-FR" sz="1067" dirty="0">
                <a:solidFill>
                  <a:schemeClr val="tx1"/>
                </a:solidFill>
                <a:latin typeface="Marianne" panose="02000000000000000000" pitchFamily="2" charset="0"/>
              </a:rPr>
              <a:t>xx</a:t>
            </a:r>
          </a:p>
        </p:txBody>
      </p:sp>
      <p:sp>
        <p:nvSpPr>
          <p:cNvPr id="32" name="Rectangle 53">
            <a:extLst>
              <a:ext uri="{FF2B5EF4-FFF2-40B4-BE49-F238E27FC236}">
                <a16:creationId xmlns:a16="http://schemas.microsoft.com/office/drawing/2014/main" id="{62239AAA-7CCB-44DE-BCFE-F3D87130EFC7}"/>
              </a:ext>
            </a:extLst>
          </p:cNvPr>
          <p:cNvSpPr/>
          <p:nvPr/>
        </p:nvSpPr>
        <p:spPr bwMode="auto">
          <a:xfrm>
            <a:off x="348066" y="1229843"/>
            <a:ext cx="3067453" cy="383759"/>
          </a:xfrm>
          <a:prstGeom prst="roundRect">
            <a:avLst/>
          </a:prstGeom>
          <a:solidFill>
            <a:schemeClr val="bg1"/>
          </a:solidFill>
          <a:ln w="6350">
            <a:solidFill>
              <a:schemeClr val="accent3">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a:defRPr/>
            </a:pPr>
            <a:r>
              <a:rPr lang="fr-FR" sz="1467" b="1" dirty="0">
                <a:solidFill>
                  <a:srgbClr val="1C408E"/>
                </a:solidFill>
                <a:latin typeface="Marianne" panose="02000000000000000000" pitchFamily="2" charset="0"/>
              </a:rPr>
              <a:t>Planning et principaux jalons</a:t>
            </a:r>
          </a:p>
        </p:txBody>
      </p:sp>
      <p:sp>
        <p:nvSpPr>
          <p:cNvPr id="25" name="Freeform: Shape 6">
            <a:extLst>
              <a:ext uri="{FF2B5EF4-FFF2-40B4-BE49-F238E27FC236}">
                <a16:creationId xmlns:a16="http://schemas.microsoft.com/office/drawing/2014/main" id="{641A81EC-B34B-4DF9-A1C7-A8244AD0F171}"/>
              </a:ext>
            </a:extLst>
          </p:cNvPr>
          <p:cNvSpPr/>
          <p:nvPr/>
        </p:nvSpPr>
        <p:spPr bwMode="auto">
          <a:xfrm>
            <a:off x="10032437" y="68092"/>
            <a:ext cx="1977736" cy="609193"/>
          </a:xfrm>
          <a:custGeom>
            <a:avLst/>
            <a:gdLst>
              <a:gd name="connsiteX0" fmla="*/ 989038 w 3212389"/>
              <a:gd name="connsiteY0" fmla="*/ 403611 h 3386591"/>
              <a:gd name="connsiteX1" fmla="*/ 16581 w 3212389"/>
              <a:gd name="connsiteY1" fmla="*/ 2493668 h 3386591"/>
              <a:gd name="connsiteX2" fmla="*/ 1816352 w 3212389"/>
              <a:gd name="connsiteY2" fmla="*/ 3379039 h 3386591"/>
              <a:gd name="connsiteX3" fmla="*/ 3209724 w 3212389"/>
              <a:gd name="connsiteY3" fmla="*/ 2058239 h 3386591"/>
              <a:gd name="connsiteX4" fmla="*/ 2135667 w 3212389"/>
              <a:gd name="connsiteY4" fmla="*/ 142354 h 3386591"/>
              <a:gd name="connsiteX5" fmla="*/ 989038 w 3212389"/>
              <a:gd name="connsiteY5" fmla="*/ 403611 h 3386591"/>
              <a:gd name="connsiteX0" fmla="*/ 999424 w 3222775"/>
              <a:gd name="connsiteY0" fmla="*/ 403611 h 2973278"/>
              <a:gd name="connsiteX1" fmla="*/ 26967 w 3222775"/>
              <a:gd name="connsiteY1" fmla="*/ 2493668 h 2973278"/>
              <a:gd name="connsiteX2" fmla="*/ 2102140 w 3222775"/>
              <a:gd name="connsiteY2" fmla="*/ 2952249 h 2973278"/>
              <a:gd name="connsiteX3" fmla="*/ 3220110 w 3222775"/>
              <a:gd name="connsiteY3" fmla="*/ 2058239 h 2973278"/>
              <a:gd name="connsiteX4" fmla="*/ 2146053 w 3222775"/>
              <a:gd name="connsiteY4" fmla="*/ 142354 h 2973278"/>
              <a:gd name="connsiteX5" fmla="*/ 999424 w 3222775"/>
              <a:gd name="connsiteY5" fmla="*/ 403611 h 2973278"/>
              <a:gd name="connsiteX0" fmla="*/ 786584 w 3243745"/>
              <a:gd name="connsiteY0" fmla="*/ 311455 h 3046268"/>
              <a:gd name="connsiteX1" fmla="*/ 47803 w 3243745"/>
              <a:gd name="connsiteY1" fmla="*/ 2564099 h 3046268"/>
              <a:gd name="connsiteX2" fmla="*/ 2122976 w 3243745"/>
              <a:gd name="connsiteY2" fmla="*/ 3022680 h 3046268"/>
              <a:gd name="connsiteX3" fmla="*/ 3240946 w 3243745"/>
              <a:gd name="connsiteY3" fmla="*/ 2128670 h 3046268"/>
              <a:gd name="connsiteX4" fmla="*/ 2166889 w 3243745"/>
              <a:gd name="connsiteY4" fmla="*/ 212785 h 3046268"/>
              <a:gd name="connsiteX5" fmla="*/ 786584 w 3243745"/>
              <a:gd name="connsiteY5" fmla="*/ 311455 h 3046268"/>
              <a:gd name="connsiteX0" fmla="*/ 794782 w 3282189"/>
              <a:gd name="connsiteY0" fmla="*/ 337202 h 3072015"/>
              <a:gd name="connsiteX1" fmla="*/ 56001 w 3282189"/>
              <a:gd name="connsiteY1" fmla="*/ 2589846 h 3072015"/>
              <a:gd name="connsiteX2" fmla="*/ 2131174 w 3282189"/>
              <a:gd name="connsiteY2" fmla="*/ 3048427 h 3072015"/>
              <a:gd name="connsiteX3" fmla="*/ 3249144 w 3282189"/>
              <a:gd name="connsiteY3" fmla="*/ 2154417 h 3072015"/>
              <a:gd name="connsiteX4" fmla="*/ 2934531 w 3282189"/>
              <a:gd name="connsiteY4" fmla="*/ 197884 h 3072015"/>
              <a:gd name="connsiteX5" fmla="*/ 794782 w 3282189"/>
              <a:gd name="connsiteY5" fmla="*/ 337202 h 3072015"/>
              <a:gd name="connsiteX0" fmla="*/ 752066 w 3239474"/>
              <a:gd name="connsiteY0" fmla="*/ 337202 h 3303589"/>
              <a:gd name="connsiteX1" fmla="*/ 13285 w 3239474"/>
              <a:gd name="connsiteY1" fmla="*/ 2589846 h 3303589"/>
              <a:gd name="connsiteX2" fmla="*/ 1270595 w 3239474"/>
              <a:gd name="connsiteY2" fmla="*/ 3292305 h 3303589"/>
              <a:gd name="connsiteX3" fmla="*/ 3206428 w 3239474"/>
              <a:gd name="connsiteY3" fmla="*/ 2154417 h 3303589"/>
              <a:gd name="connsiteX4" fmla="*/ 2891815 w 3239474"/>
              <a:gd name="connsiteY4" fmla="*/ 197884 h 3303589"/>
              <a:gd name="connsiteX5" fmla="*/ 752066 w 3239474"/>
              <a:gd name="connsiteY5" fmla="*/ 337202 h 3303589"/>
              <a:gd name="connsiteX0" fmla="*/ 781294 w 3268702"/>
              <a:gd name="connsiteY0" fmla="*/ 337202 h 3185838"/>
              <a:gd name="connsiteX1" fmla="*/ 42513 w 3268702"/>
              <a:gd name="connsiteY1" fmla="*/ 2589846 h 3185838"/>
              <a:gd name="connsiteX2" fmla="*/ 1884011 w 3268702"/>
              <a:gd name="connsiteY2" fmla="*/ 3170365 h 3185838"/>
              <a:gd name="connsiteX3" fmla="*/ 3235656 w 3268702"/>
              <a:gd name="connsiteY3" fmla="*/ 2154417 h 3185838"/>
              <a:gd name="connsiteX4" fmla="*/ 2921043 w 3268702"/>
              <a:gd name="connsiteY4" fmla="*/ 197884 h 3185838"/>
              <a:gd name="connsiteX5" fmla="*/ 781294 w 3268702"/>
              <a:gd name="connsiteY5" fmla="*/ 337202 h 3185838"/>
              <a:gd name="connsiteX0" fmla="*/ 531199 w 3340200"/>
              <a:gd name="connsiteY0" fmla="*/ 205149 h 3402802"/>
              <a:gd name="connsiteX1" fmla="*/ 101762 w 3340200"/>
              <a:gd name="connsiteY1" fmla="*/ 2803290 h 3402802"/>
              <a:gd name="connsiteX2" fmla="*/ 1943260 w 3340200"/>
              <a:gd name="connsiteY2" fmla="*/ 3383809 h 3402802"/>
              <a:gd name="connsiteX3" fmla="*/ 3294905 w 3340200"/>
              <a:gd name="connsiteY3" fmla="*/ 2367861 h 3402802"/>
              <a:gd name="connsiteX4" fmla="*/ 2980292 w 3340200"/>
              <a:gd name="connsiteY4" fmla="*/ 411328 h 3402802"/>
              <a:gd name="connsiteX5" fmla="*/ 531199 w 3340200"/>
              <a:gd name="connsiteY5" fmla="*/ 205149 h 3402802"/>
              <a:gd name="connsiteX0" fmla="*/ 515406 w 3283081"/>
              <a:gd name="connsiteY0" fmla="*/ 419999 h 3617652"/>
              <a:gd name="connsiteX1" fmla="*/ 85969 w 3283081"/>
              <a:gd name="connsiteY1" fmla="*/ 3018140 h 3617652"/>
              <a:gd name="connsiteX2" fmla="*/ 1927467 w 3283081"/>
              <a:gd name="connsiteY2" fmla="*/ 3598659 h 3617652"/>
              <a:gd name="connsiteX3" fmla="*/ 3279112 w 3283081"/>
              <a:gd name="connsiteY3" fmla="*/ 2582711 h 3617652"/>
              <a:gd name="connsiteX4" fmla="*/ 2380182 w 3283081"/>
              <a:gd name="connsiteY4" fmla="*/ 219712 h 3617652"/>
              <a:gd name="connsiteX5" fmla="*/ 515406 w 3283081"/>
              <a:gd name="connsiteY5" fmla="*/ 419999 h 3617652"/>
              <a:gd name="connsiteX0" fmla="*/ 515406 w 3036322"/>
              <a:gd name="connsiteY0" fmla="*/ 466666 h 3687655"/>
              <a:gd name="connsiteX1" fmla="*/ 85969 w 3036322"/>
              <a:gd name="connsiteY1" fmla="*/ 3064807 h 3687655"/>
              <a:gd name="connsiteX2" fmla="*/ 1927467 w 3036322"/>
              <a:gd name="connsiteY2" fmla="*/ 3645326 h 3687655"/>
              <a:gd name="connsiteX3" fmla="*/ 3029918 w 3036322"/>
              <a:gd name="connsiteY3" fmla="*/ 3279721 h 3687655"/>
              <a:gd name="connsiteX4" fmla="*/ 2380182 w 3036322"/>
              <a:gd name="connsiteY4" fmla="*/ 266379 h 3687655"/>
              <a:gd name="connsiteX5" fmla="*/ 515406 w 3036322"/>
              <a:gd name="connsiteY5" fmla="*/ 466666 h 3687655"/>
              <a:gd name="connsiteX0" fmla="*/ 515406 w 2629813"/>
              <a:gd name="connsiteY0" fmla="*/ 436466 h 3621721"/>
              <a:gd name="connsiteX1" fmla="*/ 85969 w 2629813"/>
              <a:gd name="connsiteY1" fmla="*/ 3034607 h 3621721"/>
              <a:gd name="connsiteX2" fmla="*/ 1927467 w 2629813"/>
              <a:gd name="connsiteY2" fmla="*/ 3615126 h 3621721"/>
              <a:gd name="connsiteX3" fmla="*/ 2576615 w 2629813"/>
              <a:gd name="connsiteY3" fmla="*/ 2829630 h 3621721"/>
              <a:gd name="connsiteX4" fmla="*/ 2380182 w 2629813"/>
              <a:gd name="connsiteY4" fmla="*/ 236179 h 3621721"/>
              <a:gd name="connsiteX5" fmla="*/ 515406 w 2629813"/>
              <a:gd name="connsiteY5" fmla="*/ 436466 h 3621721"/>
              <a:gd name="connsiteX0" fmla="*/ 492431 w 2638658"/>
              <a:gd name="connsiteY0" fmla="*/ 239273 h 3923488"/>
              <a:gd name="connsiteX1" fmla="*/ 93214 w 2638658"/>
              <a:gd name="connsiteY1" fmla="*/ 3331403 h 3923488"/>
              <a:gd name="connsiteX2" fmla="*/ 1934712 w 2638658"/>
              <a:gd name="connsiteY2" fmla="*/ 3911922 h 3923488"/>
              <a:gd name="connsiteX3" fmla="*/ 2583860 w 2638658"/>
              <a:gd name="connsiteY3" fmla="*/ 3126426 h 3923488"/>
              <a:gd name="connsiteX4" fmla="*/ 2387427 w 2638658"/>
              <a:gd name="connsiteY4" fmla="*/ 532975 h 3923488"/>
              <a:gd name="connsiteX5" fmla="*/ 492431 w 2638658"/>
              <a:gd name="connsiteY5" fmla="*/ 239273 h 3923488"/>
              <a:gd name="connsiteX0" fmla="*/ 347509 w 2493736"/>
              <a:gd name="connsiteY0" fmla="*/ 206520 h 3882854"/>
              <a:gd name="connsiteX1" fmla="*/ 129614 w 2493736"/>
              <a:gd name="connsiteY1" fmla="*/ 2854061 h 3882854"/>
              <a:gd name="connsiteX2" fmla="*/ 1789790 w 2493736"/>
              <a:gd name="connsiteY2" fmla="*/ 3879169 h 3882854"/>
              <a:gd name="connsiteX3" fmla="*/ 2438938 w 2493736"/>
              <a:gd name="connsiteY3" fmla="*/ 3093673 h 3882854"/>
              <a:gd name="connsiteX4" fmla="*/ 2242505 w 2493736"/>
              <a:gd name="connsiteY4" fmla="*/ 500222 h 3882854"/>
              <a:gd name="connsiteX5" fmla="*/ 347509 w 2493736"/>
              <a:gd name="connsiteY5" fmla="*/ 206520 h 3882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3736" h="3882854" extrusionOk="0">
                <a:moveTo>
                  <a:pt x="347509" y="206520"/>
                </a:moveTo>
                <a:cubicBezTo>
                  <a:pt x="-4639" y="598827"/>
                  <a:pt x="-110766" y="2241953"/>
                  <a:pt x="129614" y="2854061"/>
                </a:cubicBezTo>
                <a:cubicBezTo>
                  <a:pt x="369994" y="3466169"/>
                  <a:pt x="1404903" y="3839234"/>
                  <a:pt x="1789790" y="3879169"/>
                </a:cubicBezTo>
                <a:cubicBezTo>
                  <a:pt x="2174677" y="3919104"/>
                  <a:pt x="2385719" y="3633120"/>
                  <a:pt x="2438938" y="3093673"/>
                </a:cubicBezTo>
                <a:cubicBezTo>
                  <a:pt x="2492157" y="2554226"/>
                  <a:pt x="2591077" y="981414"/>
                  <a:pt x="2242505" y="500222"/>
                </a:cubicBezTo>
                <a:cubicBezTo>
                  <a:pt x="1893934" y="19030"/>
                  <a:pt x="699658" y="-185787"/>
                  <a:pt x="347509" y="206520"/>
                </a:cubicBezTo>
                <a:close/>
              </a:path>
            </a:pathLst>
          </a:custGeom>
          <a:solidFill>
            <a:srgbClr val="1C4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33" b="1" dirty="0">
                <a:solidFill>
                  <a:schemeClr val="bg1"/>
                </a:solidFill>
                <a:latin typeface="Marianne" panose="02000000000000000000" pitchFamily="2" charset="0"/>
              </a:rPr>
              <a:t>Thème</a:t>
            </a:r>
          </a:p>
        </p:txBody>
      </p:sp>
      <p:sp>
        <p:nvSpPr>
          <p:cNvPr id="24" name="Rectangle : coins arrondis 23">
            <a:extLst>
              <a:ext uri="{FF2B5EF4-FFF2-40B4-BE49-F238E27FC236}">
                <a16:creationId xmlns:a16="http://schemas.microsoft.com/office/drawing/2014/main" id="{8689FD64-E829-4577-B0BE-18DAA078BD2C}"/>
              </a:ext>
            </a:extLst>
          </p:cNvPr>
          <p:cNvSpPr/>
          <p:nvPr/>
        </p:nvSpPr>
        <p:spPr bwMode="auto">
          <a:xfrm>
            <a:off x="4667348" y="168215"/>
            <a:ext cx="5082707" cy="552810"/>
          </a:xfrm>
          <a:prstGeom prst="roundRect">
            <a:avLst/>
          </a:prstGeom>
          <a:solidFill>
            <a:srgbClr val="1C4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133" i="1" dirty="0">
                <a:solidFill>
                  <a:schemeClr val="bg1"/>
                </a:solidFill>
                <a:latin typeface="Marianne" panose="02000000000000000000" pitchFamily="2" charset="0"/>
              </a:rPr>
              <a:t>Gabarit de fiche détaillée (1/2) – Titre de l’initiative</a:t>
            </a:r>
          </a:p>
        </p:txBody>
      </p:sp>
      <p:sp>
        <p:nvSpPr>
          <p:cNvPr id="26" name="Espace réservé du numéro de diapositive 3">
            <a:extLst>
              <a:ext uri="{FF2B5EF4-FFF2-40B4-BE49-F238E27FC236}">
                <a16:creationId xmlns:a16="http://schemas.microsoft.com/office/drawing/2014/main" id="{E0D1C246-B66C-4658-A8DB-1E8F14DB51A9}"/>
              </a:ext>
            </a:extLst>
          </p:cNvPr>
          <p:cNvSpPr txBox="1">
            <a:spLocks/>
          </p:cNvSpPr>
          <p:nvPr/>
        </p:nvSpPr>
        <p:spPr bwMode="auto">
          <a:xfrm>
            <a:off x="11468947" y="6572391"/>
            <a:ext cx="723053" cy="312904"/>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fr-FR" sz="1000" b="1"/>
              <a:pPr/>
              <a:t>7</a:t>
            </a:fld>
            <a:endParaRPr lang="fr-FR" sz="1000" b="1" dirty="0"/>
          </a:p>
        </p:txBody>
      </p:sp>
      <p:pic>
        <p:nvPicPr>
          <p:cNvPr id="7" name="Image 6" descr="Une image contenant texte, Police, Graphique, logo&#10;&#10;Description générée automatiquement">
            <a:extLst>
              <a:ext uri="{FF2B5EF4-FFF2-40B4-BE49-F238E27FC236}">
                <a16:creationId xmlns:a16="http://schemas.microsoft.com/office/drawing/2014/main" id="{D8D3DBEB-834F-6C11-30D8-B914199B2E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105033" y="54635"/>
            <a:ext cx="3356806" cy="928045"/>
          </a:xfrm>
          <a:prstGeom prst="rect">
            <a:avLst/>
          </a:prstGeom>
        </p:spPr>
      </p:pic>
    </p:spTree>
    <p:extLst>
      <p:ext uri="{BB962C8B-B14F-4D97-AF65-F5344CB8AC3E}">
        <p14:creationId xmlns:p14="http://schemas.microsoft.com/office/powerpoint/2010/main" val="562165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79" name="Rectangle 78"/>
          <p:cNvSpPr/>
          <p:nvPr/>
        </p:nvSpPr>
        <p:spPr bwMode="auto">
          <a:xfrm>
            <a:off x="335362" y="6031779"/>
            <a:ext cx="11593087" cy="4519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 name="Rectangle 2"/>
          <p:cNvSpPr/>
          <p:nvPr/>
        </p:nvSpPr>
        <p:spPr>
          <a:xfrm>
            <a:off x="11682333" y="2944818"/>
            <a:ext cx="304940" cy="3556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405614902" name="Rectangle 64"/>
          <p:cNvSpPr/>
          <p:nvPr/>
        </p:nvSpPr>
        <p:spPr bwMode="auto">
          <a:xfrm>
            <a:off x="3482495" y="1486279"/>
            <a:ext cx="8463011" cy="3545325"/>
          </a:xfrm>
          <a:prstGeom prst="rect">
            <a:avLst/>
          </a:prstGeom>
          <a:solidFill>
            <a:schemeClr val="bg1"/>
          </a:solidFill>
          <a:ln w="3175">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Font typeface="Arial"/>
              <a:buChar char="•"/>
              <a:defRPr/>
            </a:pPr>
            <a:endParaRPr lang="fr-FR" sz="1333">
              <a:solidFill>
                <a:schemeClr val="tx1"/>
              </a:solidFill>
              <a:latin typeface="Marianne"/>
            </a:endParaRPr>
          </a:p>
        </p:txBody>
      </p:sp>
      <p:sp>
        <p:nvSpPr>
          <p:cNvPr id="634916884" name="Rectangle 79"/>
          <p:cNvSpPr/>
          <p:nvPr/>
        </p:nvSpPr>
        <p:spPr bwMode="auto">
          <a:xfrm>
            <a:off x="3489139" y="1312789"/>
            <a:ext cx="2826475" cy="304475"/>
          </a:xfrm>
          <a:prstGeom prst="roundRect">
            <a:avLst/>
          </a:prstGeom>
          <a:solidFill>
            <a:schemeClr val="accent1">
              <a:lumMod val="75000"/>
            </a:schemeClr>
          </a:solidFill>
          <a:ln w="6350">
            <a:solidFill>
              <a:schemeClr val="accent3">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defRPr/>
            </a:pPr>
            <a:r>
              <a:rPr lang="fr-FR" sz="1467" b="1" dirty="0">
                <a:solidFill>
                  <a:schemeClr val="bg1"/>
                </a:solidFill>
                <a:latin typeface="Marianne"/>
              </a:rPr>
              <a:t>Description de l’initiative</a:t>
            </a:r>
            <a:endParaRPr sz="2400" dirty="0">
              <a:solidFill>
                <a:schemeClr val="bg1"/>
              </a:solidFill>
            </a:endParaRPr>
          </a:p>
        </p:txBody>
      </p:sp>
      <p:sp>
        <p:nvSpPr>
          <p:cNvPr id="44" name="Rectangle 64"/>
          <p:cNvSpPr/>
          <p:nvPr/>
        </p:nvSpPr>
        <p:spPr bwMode="auto">
          <a:xfrm>
            <a:off x="3482494" y="5335647"/>
            <a:ext cx="8423407" cy="961903"/>
          </a:xfrm>
          <a:prstGeom prst="rect">
            <a:avLst/>
          </a:prstGeom>
          <a:solidFill>
            <a:schemeClr val="bg1"/>
          </a:solidFill>
          <a:ln w="3175">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90" indent="-380990">
              <a:buFont typeface="Arial"/>
              <a:buChar char="•"/>
              <a:defRPr/>
            </a:pPr>
            <a:endParaRPr lang="fr-FR" sz="1333" dirty="0">
              <a:solidFill>
                <a:schemeClr val="tx1"/>
              </a:solidFill>
              <a:latin typeface="Marianne"/>
            </a:endParaRPr>
          </a:p>
        </p:txBody>
      </p:sp>
      <p:sp>
        <p:nvSpPr>
          <p:cNvPr id="45" name="Rectangle 79"/>
          <p:cNvSpPr/>
          <p:nvPr/>
        </p:nvSpPr>
        <p:spPr bwMode="auto">
          <a:xfrm>
            <a:off x="3489139" y="5157475"/>
            <a:ext cx="2839053" cy="304475"/>
          </a:xfrm>
          <a:prstGeom prst="roundRect">
            <a:avLst/>
          </a:prstGeom>
          <a:solidFill>
            <a:schemeClr val="accent1">
              <a:lumMod val="75000"/>
            </a:schemeClr>
          </a:solidFill>
          <a:ln w="6350">
            <a:solidFill>
              <a:schemeClr val="accent3">
                <a:lumMod val="7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defRPr/>
            </a:pPr>
            <a:r>
              <a:rPr lang="fr-FR" sz="1467" b="1" dirty="0">
                <a:solidFill>
                  <a:schemeClr val="bg1"/>
                </a:solidFill>
                <a:latin typeface="Marianne"/>
              </a:rPr>
              <a:t>Bénéfices/Résultats</a:t>
            </a:r>
            <a:endParaRPr sz="2400" dirty="0">
              <a:solidFill>
                <a:schemeClr val="bg1"/>
              </a:solidFill>
            </a:endParaRPr>
          </a:p>
        </p:txBody>
      </p:sp>
      <p:sp>
        <p:nvSpPr>
          <p:cNvPr id="46" name="Rectangle 56"/>
          <p:cNvSpPr/>
          <p:nvPr/>
        </p:nvSpPr>
        <p:spPr bwMode="auto">
          <a:xfrm>
            <a:off x="10683308" y="2047421"/>
            <a:ext cx="1196493" cy="2633071"/>
          </a:xfrm>
          <a:prstGeom prst="roundRect">
            <a:avLst/>
          </a:prstGeom>
          <a:solidFill>
            <a:schemeClr val="bg1"/>
          </a:solidFill>
          <a:ln w="3175">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00"/>
              </a:spcAft>
              <a:defRPr/>
            </a:pPr>
            <a:endParaRPr lang="fr-FR" sz="1200" dirty="0">
              <a:solidFill>
                <a:srgbClr val="1C408E"/>
              </a:solidFill>
              <a:latin typeface="Marianne"/>
            </a:endParaRPr>
          </a:p>
        </p:txBody>
      </p:sp>
      <p:sp>
        <p:nvSpPr>
          <p:cNvPr id="47" name="ZoneTexte 27"/>
          <p:cNvSpPr txBox="1"/>
          <p:nvPr/>
        </p:nvSpPr>
        <p:spPr bwMode="auto">
          <a:xfrm>
            <a:off x="10558982" y="3575213"/>
            <a:ext cx="1383545" cy="307049"/>
          </a:xfrm>
          <a:prstGeom prst="rect">
            <a:avLst/>
          </a:prstGeom>
          <a:noFill/>
        </p:spPr>
        <p:txBody>
          <a:bodyPr wrap="square" rtlCol="0" anchor="ctr">
            <a:noAutofit/>
          </a:bodyPr>
          <a:lstStyle>
            <a:defPPr>
              <a:defRPr lang="fr-FR"/>
            </a:defPPr>
            <a:lvl1pPr algn="ctr">
              <a:defRPr sz="800" b="1">
                <a:solidFill>
                  <a:srgbClr val="153F71"/>
                </a:solidFill>
                <a:latin typeface="Marianne"/>
              </a:defRPr>
            </a:lvl1pPr>
          </a:lstStyle>
          <a:p>
            <a:r>
              <a:rPr lang="fr-FR" sz="933" dirty="0">
                <a:solidFill>
                  <a:srgbClr val="1C408E"/>
                </a:solidFill>
                <a:latin typeface="Marianne" panose="02000000000000000000" pitchFamily="2" charset="0"/>
              </a:rPr>
              <a:t>Nombre de bénéficiaires</a:t>
            </a:r>
          </a:p>
        </p:txBody>
      </p:sp>
      <p:sp>
        <p:nvSpPr>
          <p:cNvPr id="54" name="ZoneTexte 113"/>
          <p:cNvSpPr txBox="1"/>
          <p:nvPr/>
        </p:nvSpPr>
        <p:spPr bwMode="auto">
          <a:xfrm>
            <a:off x="10665905" y="2736205"/>
            <a:ext cx="1218639" cy="335195"/>
          </a:xfrm>
          <a:prstGeom prst="rect">
            <a:avLst/>
          </a:prstGeom>
          <a:noFill/>
        </p:spPr>
        <p:txBody>
          <a:bodyPr wrap="square" rtlCol="0" anchor="ctr">
            <a:noAutofit/>
          </a:bodyPr>
          <a:lstStyle>
            <a:defPPr>
              <a:defRPr lang="fr-FR"/>
            </a:defPPr>
            <a:lvl1pPr algn="ctr">
              <a:defRPr sz="800" b="1">
                <a:solidFill>
                  <a:srgbClr val="153F71"/>
                </a:solidFill>
                <a:latin typeface="Marianne"/>
              </a:defRPr>
            </a:lvl1pPr>
          </a:lstStyle>
          <a:p>
            <a:pPr algn="ctr">
              <a:defRPr/>
            </a:pPr>
            <a:r>
              <a:rPr lang="fr-FR" sz="933" dirty="0">
                <a:solidFill>
                  <a:srgbClr val="1C408E"/>
                </a:solidFill>
                <a:latin typeface="Marianne" panose="02000000000000000000" pitchFamily="2" charset="0"/>
                <a:ea typeface="Marianne"/>
                <a:cs typeface="Marianne"/>
              </a:rPr>
              <a:t>Coût</a:t>
            </a:r>
          </a:p>
        </p:txBody>
      </p:sp>
      <p:sp>
        <p:nvSpPr>
          <p:cNvPr id="65" name="ZoneTexte 27"/>
          <p:cNvSpPr txBox="1"/>
          <p:nvPr/>
        </p:nvSpPr>
        <p:spPr bwMode="auto">
          <a:xfrm>
            <a:off x="10613982" y="4364132"/>
            <a:ext cx="1338669" cy="382685"/>
          </a:xfrm>
          <a:prstGeom prst="rect">
            <a:avLst/>
          </a:prstGeom>
          <a:noFill/>
        </p:spPr>
        <p:txBody>
          <a:bodyPr wrap="square" rtlCol="0" anchor="ctr">
            <a:noAutofit/>
          </a:bodyPr>
          <a:lstStyle/>
          <a:p>
            <a:pPr algn="ctr">
              <a:defRPr/>
            </a:pPr>
            <a:r>
              <a:rPr lang="fr-FR" sz="933" b="1" dirty="0">
                <a:solidFill>
                  <a:srgbClr val="1C408E"/>
                </a:solidFill>
                <a:latin typeface="Marianne" panose="02000000000000000000" pitchFamily="2" charset="0"/>
              </a:rPr>
              <a:t>xx</a:t>
            </a:r>
          </a:p>
          <a:p>
            <a:pPr algn="ctr">
              <a:defRPr/>
            </a:pPr>
            <a:endParaRPr lang="fr-FR" sz="933" b="1" dirty="0">
              <a:latin typeface="Marianne" panose="02000000000000000000" pitchFamily="2" charset="0"/>
            </a:endParaRPr>
          </a:p>
        </p:txBody>
      </p:sp>
      <p:sp>
        <p:nvSpPr>
          <p:cNvPr id="42" name="Rectangle 56"/>
          <p:cNvSpPr/>
          <p:nvPr/>
        </p:nvSpPr>
        <p:spPr bwMode="auto">
          <a:xfrm>
            <a:off x="303523" y="1434218"/>
            <a:ext cx="3008168" cy="4863332"/>
          </a:xfrm>
          <a:prstGeom prst="rect">
            <a:avLst/>
          </a:prstGeom>
          <a:solidFill>
            <a:srgbClr val="1C408E"/>
          </a:solidFill>
          <a:ln w="3175">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400"/>
              </a:spcAft>
              <a:defRPr/>
            </a:pPr>
            <a:endParaRPr lang="fr-FR" sz="1200" b="1" dirty="0">
              <a:solidFill>
                <a:schemeClr val="tx1"/>
              </a:solidFill>
              <a:latin typeface="Marianne" panose="02000000000000000000" pitchFamily="2" charset="0"/>
            </a:endParaRPr>
          </a:p>
          <a:p>
            <a:pPr algn="ctr">
              <a:spcAft>
                <a:spcPts val="400"/>
              </a:spcAft>
              <a:defRPr/>
            </a:pPr>
            <a:r>
              <a:rPr lang="fr-FR" sz="1200" b="1" dirty="0">
                <a:solidFill>
                  <a:schemeClr val="bg1"/>
                </a:solidFill>
                <a:latin typeface="Marianne" panose="02000000000000000000" pitchFamily="2" charset="0"/>
              </a:rPr>
              <a:t>[Acteur], </a:t>
            </a:r>
            <a:r>
              <a:rPr lang="fr-FR" sz="1200" dirty="0">
                <a:solidFill>
                  <a:schemeClr val="bg1"/>
                </a:solidFill>
                <a:latin typeface="Marianne" panose="02000000000000000000" pitchFamily="2" charset="0"/>
              </a:rPr>
              <a:t>[Département], [Région]</a:t>
            </a:r>
          </a:p>
          <a:p>
            <a:pPr>
              <a:lnSpc>
                <a:spcPct val="150000"/>
              </a:lnSpc>
              <a:defRPr/>
            </a:pPr>
            <a:endParaRPr lang="fr-FR" sz="1067" b="1" dirty="0">
              <a:solidFill>
                <a:schemeClr val="bg1"/>
              </a:solidFill>
              <a:latin typeface="Marianne" panose="02000000000000000000" pitchFamily="2" charset="0"/>
            </a:endParaRPr>
          </a:p>
          <a:p>
            <a:pPr>
              <a:lnSpc>
                <a:spcPct val="150000"/>
              </a:lnSpc>
              <a:defRPr/>
            </a:pPr>
            <a:r>
              <a:rPr lang="fr-FR" sz="1067" b="1" dirty="0">
                <a:solidFill>
                  <a:schemeClr val="bg1"/>
                </a:solidFill>
                <a:latin typeface="Marianne" panose="02000000000000000000" pitchFamily="2" charset="0"/>
              </a:rPr>
              <a:t>Offre d’accueil </a:t>
            </a:r>
          </a:p>
          <a:p>
            <a:pPr marL="228594" indent="-228594">
              <a:buFont typeface="Arial" panose="020B0604020202020204" pitchFamily="34" charset="0"/>
              <a:buChar char="•"/>
              <a:defRPr/>
            </a:pPr>
            <a:r>
              <a:rPr lang="fr-FR" sz="1067" dirty="0">
                <a:solidFill>
                  <a:schemeClr val="bg1"/>
                </a:solidFill>
                <a:latin typeface="Marianne" panose="02000000000000000000" pitchFamily="2" charset="0"/>
              </a:rPr>
              <a:t>xx</a:t>
            </a:r>
          </a:p>
          <a:p>
            <a:pPr marL="228594" indent="-228594">
              <a:buFont typeface="Courier New" panose="02070309020205020404" pitchFamily="49" charset="0"/>
              <a:buChar char="o"/>
              <a:defRPr/>
            </a:pPr>
            <a:endParaRPr lang="fr-FR" sz="1067" dirty="0">
              <a:solidFill>
                <a:schemeClr val="bg1"/>
              </a:solidFill>
              <a:latin typeface="Marianne" panose="02000000000000000000" pitchFamily="2" charset="0"/>
            </a:endParaRPr>
          </a:p>
          <a:p>
            <a:pPr lvl="0">
              <a:lnSpc>
                <a:spcPct val="150000"/>
              </a:lnSpc>
              <a:defRPr/>
            </a:pPr>
            <a:r>
              <a:rPr lang="fr-FR" sz="1067" b="1" dirty="0">
                <a:solidFill>
                  <a:schemeClr val="bg1"/>
                </a:solidFill>
                <a:latin typeface="Marianne" panose="02000000000000000000" pitchFamily="2" charset="0"/>
              </a:rPr>
              <a:t>Contact</a:t>
            </a:r>
          </a:p>
          <a:p>
            <a:pPr marL="228594" indent="-228594">
              <a:buFont typeface="Arial" panose="020B0604020202020204" pitchFamily="34" charset="0"/>
              <a:buChar char="•"/>
              <a:defRPr/>
            </a:pPr>
            <a:r>
              <a:rPr lang="fr-FR" sz="1067" dirty="0">
                <a:solidFill>
                  <a:schemeClr val="bg1"/>
                </a:solidFill>
                <a:latin typeface="Marianne" panose="02000000000000000000" pitchFamily="2" charset="0"/>
              </a:rPr>
              <a:t>[Nom du contact], </a:t>
            </a:r>
            <a:r>
              <a:rPr lang="fr-FR" sz="1067" i="1" dirty="0">
                <a:solidFill>
                  <a:schemeClr val="bg1"/>
                </a:solidFill>
                <a:latin typeface="Marianne" panose="02000000000000000000" pitchFamily="2" charset="0"/>
              </a:rPr>
              <a:t>[Poste occupé]</a:t>
            </a:r>
          </a:p>
          <a:p>
            <a:pPr marL="230394">
              <a:defRPr/>
            </a:pPr>
            <a:r>
              <a:rPr lang="fr-FR" sz="1067" u="sng" dirty="0">
                <a:solidFill>
                  <a:schemeClr val="bg1"/>
                </a:solidFill>
                <a:latin typeface="Marianne" panose="02000000000000000000" pitchFamily="2" charset="0"/>
              </a:rPr>
              <a:t>Mail</a:t>
            </a:r>
          </a:p>
          <a:p>
            <a:pPr lvl="0">
              <a:defRPr/>
            </a:pPr>
            <a:r>
              <a:rPr lang="fr-FR" sz="1067" b="1" dirty="0">
                <a:solidFill>
                  <a:schemeClr val="bg1"/>
                </a:solidFill>
                <a:latin typeface="Marianne" panose="02000000000000000000" pitchFamily="2" charset="0"/>
              </a:rPr>
              <a:t>      </a:t>
            </a:r>
            <a:endParaRPr lang="fr-FR" sz="933" b="1" dirty="0">
              <a:solidFill>
                <a:schemeClr val="bg1"/>
              </a:solidFill>
              <a:latin typeface="Marianne"/>
            </a:endParaRPr>
          </a:p>
        </p:txBody>
      </p:sp>
      <p:sp>
        <p:nvSpPr>
          <p:cNvPr id="328790824" name="Rectangle: Top Corners Rounded 103"/>
          <p:cNvSpPr/>
          <p:nvPr/>
        </p:nvSpPr>
        <p:spPr bwMode="auto">
          <a:xfrm rot="16199932" flipH="1" flipV="1">
            <a:off x="1453600" y="-63202"/>
            <a:ext cx="724152" cy="3184051"/>
          </a:xfrm>
          <a:prstGeom prst="roundRect">
            <a:avLst/>
          </a:prstGeom>
          <a:solidFill>
            <a:srgbClr val="1C408E"/>
          </a:solidFill>
          <a:ln>
            <a:noFill/>
          </a:ln>
          <a:effectLst>
            <a:outerShdw blurRad="127000" dist="635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38">
              <a:defRPr/>
            </a:pPr>
            <a:endParaRPr lang="fr-FR" sz="2400">
              <a:solidFill>
                <a:prstClr val="white"/>
              </a:solidFill>
              <a:latin typeface="Calibri"/>
            </a:endParaRPr>
          </a:p>
        </p:txBody>
      </p:sp>
      <p:sp>
        <p:nvSpPr>
          <p:cNvPr id="1585640725" name="Freeform 57"/>
          <p:cNvSpPr>
            <a:spLocks noEditPoints="1"/>
          </p:cNvSpPr>
          <p:nvPr/>
        </p:nvSpPr>
        <p:spPr bwMode="auto">
          <a:xfrm>
            <a:off x="298429" y="1230768"/>
            <a:ext cx="612996" cy="560849"/>
          </a:xfrm>
          <a:custGeom>
            <a:avLst/>
            <a:gdLst>
              <a:gd name="T0" fmla="*/ 4431 w 4464"/>
              <a:gd name="T1" fmla="*/ 3853 h 3991"/>
              <a:gd name="T2" fmla="*/ 4358 w 4464"/>
              <a:gd name="T3" fmla="*/ 3967 h 3991"/>
              <a:gd name="T4" fmla="*/ 4240 w 4464"/>
              <a:gd name="T5" fmla="*/ 3846 h 3991"/>
              <a:gd name="T6" fmla="*/ 4204 w 4464"/>
              <a:gd name="T7" fmla="*/ 3725 h 3991"/>
              <a:gd name="T8" fmla="*/ 4169 w 4464"/>
              <a:gd name="T9" fmla="*/ 3598 h 3991"/>
              <a:gd name="T10" fmla="*/ 4315 w 4464"/>
              <a:gd name="T11" fmla="*/ 3411 h 3991"/>
              <a:gd name="T12" fmla="*/ 3386 w 4464"/>
              <a:gd name="T13" fmla="*/ 3382 h 3991"/>
              <a:gd name="T14" fmla="*/ 1072 w 4464"/>
              <a:gd name="T15" fmla="*/ 2092 h 3991"/>
              <a:gd name="T16" fmla="*/ 532 w 4464"/>
              <a:gd name="T17" fmla="*/ 1605 h 3991"/>
              <a:gd name="T18" fmla="*/ 2174 w 4464"/>
              <a:gd name="T19" fmla="*/ 114 h 3991"/>
              <a:gd name="T20" fmla="*/ 2463 w 4464"/>
              <a:gd name="T21" fmla="*/ 317 h 3991"/>
              <a:gd name="T22" fmla="*/ 2725 w 4464"/>
              <a:gd name="T23" fmla="*/ 443 h 3991"/>
              <a:gd name="T24" fmla="*/ 2917 w 4464"/>
              <a:gd name="T25" fmla="*/ 575 h 3991"/>
              <a:gd name="T26" fmla="*/ 3175 w 4464"/>
              <a:gd name="T27" fmla="*/ 620 h 3991"/>
              <a:gd name="T28" fmla="*/ 3416 w 4464"/>
              <a:gd name="T29" fmla="*/ 767 h 3991"/>
              <a:gd name="T30" fmla="*/ 3724 w 4464"/>
              <a:gd name="T31" fmla="*/ 862 h 3991"/>
              <a:gd name="T32" fmla="*/ 3622 w 4464"/>
              <a:gd name="T33" fmla="*/ 1221 h 3991"/>
              <a:gd name="T34" fmla="*/ 3598 w 4464"/>
              <a:gd name="T35" fmla="*/ 1446 h 3991"/>
              <a:gd name="T36" fmla="*/ 3464 w 4464"/>
              <a:gd name="T37" fmla="*/ 1541 h 3991"/>
              <a:gd name="T38" fmla="*/ 3258 w 4464"/>
              <a:gd name="T39" fmla="*/ 1957 h 3991"/>
              <a:gd name="T40" fmla="*/ 3454 w 4464"/>
              <a:gd name="T41" fmla="*/ 2000 h 3991"/>
              <a:gd name="T42" fmla="*/ 3513 w 4464"/>
              <a:gd name="T43" fmla="*/ 2239 h 3991"/>
              <a:gd name="T44" fmla="*/ 3445 w 4464"/>
              <a:gd name="T45" fmla="*/ 2488 h 3991"/>
              <a:gd name="T46" fmla="*/ 3572 w 4464"/>
              <a:gd name="T47" fmla="*/ 2821 h 3991"/>
              <a:gd name="T48" fmla="*/ 3722 w 4464"/>
              <a:gd name="T49" fmla="*/ 3039 h 3991"/>
              <a:gd name="T50" fmla="*/ 3556 w 4464"/>
              <a:gd name="T51" fmla="*/ 3191 h 3991"/>
              <a:gd name="T52" fmla="*/ 3419 w 4464"/>
              <a:gd name="T53" fmla="*/ 3333 h 3991"/>
              <a:gd name="T54" fmla="*/ 3220 w 4464"/>
              <a:gd name="T55" fmla="*/ 3328 h 3991"/>
              <a:gd name="T56" fmla="*/ 3031 w 4464"/>
              <a:gd name="T57" fmla="*/ 3183 h 3991"/>
              <a:gd name="T58" fmla="*/ 2742 w 4464"/>
              <a:gd name="T59" fmla="*/ 3221 h 3991"/>
              <a:gd name="T60" fmla="*/ 2420 w 4464"/>
              <a:gd name="T61" fmla="*/ 3387 h 3991"/>
              <a:gd name="T62" fmla="*/ 2425 w 4464"/>
              <a:gd name="T63" fmla="*/ 3626 h 3991"/>
              <a:gd name="T64" fmla="*/ 2117 w 4464"/>
              <a:gd name="T65" fmla="*/ 3714 h 3991"/>
              <a:gd name="T66" fmla="*/ 1758 w 4464"/>
              <a:gd name="T67" fmla="*/ 3550 h 3991"/>
              <a:gd name="T68" fmla="*/ 1417 w 4464"/>
              <a:gd name="T69" fmla="*/ 3583 h 3991"/>
              <a:gd name="T70" fmla="*/ 1107 w 4464"/>
              <a:gd name="T71" fmla="*/ 3456 h 3991"/>
              <a:gd name="T72" fmla="*/ 892 w 4464"/>
              <a:gd name="T73" fmla="*/ 3304 h 3991"/>
              <a:gd name="T74" fmla="*/ 1112 w 4464"/>
              <a:gd name="T75" fmla="*/ 2388 h 3991"/>
              <a:gd name="T76" fmla="*/ 1157 w 4464"/>
              <a:gd name="T77" fmla="*/ 2353 h 3991"/>
              <a:gd name="T78" fmla="*/ 1128 w 4464"/>
              <a:gd name="T79" fmla="*/ 2149 h 3991"/>
              <a:gd name="T80" fmla="*/ 946 w 4464"/>
              <a:gd name="T81" fmla="*/ 1967 h 3991"/>
              <a:gd name="T82" fmla="*/ 821 w 4464"/>
              <a:gd name="T83" fmla="*/ 1650 h 3991"/>
              <a:gd name="T84" fmla="*/ 750 w 4464"/>
              <a:gd name="T85" fmla="*/ 1628 h 3991"/>
              <a:gd name="T86" fmla="*/ 705 w 4464"/>
              <a:gd name="T87" fmla="*/ 1510 h 3991"/>
              <a:gd name="T88" fmla="*/ 667 w 4464"/>
              <a:gd name="T89" fmla="*/ 1479 h 3991"/>
              <a:gd name="T90" fmla="*/ 560 w 4464"/>
              <a:gd name="T91" fmla="*/ 1489 h 3991"/>
              <a:gd name="T92" fmla="*/ 534 w 4464"/>
              <a:gd name="T93" fmla="*/ 1434 h 3991"/>
              <a:gd name="T94" fmla="*/ 383 w 4464"/>
              <a:gd name="T95" fmla="*/ 1380 h 3991"/>
              <a:gd name="T96" fmla="*/ 198 w 4464"/>
              <a:gd name="T97" fmla="*/ 1373 h 3991"/>
              <a:gd name="T98" fmla="*/ 156 w 4464"/>
              <a:gd name="T99" fmla="*/ 1183 h 3991"/>
              <a:gd name="T100" fmla="*/ 222 w 4464"/>
              <a:gd name="T101" fmla="*/ 1141 h 3991"/>
              <a:gd name="T102" fmla="*/ 151 w 4464"/>
              <a:gd name="T103" fmla="*/ 1030 h 3991"/>
              <a:gd name="T104" fmla="*/ 336 w 4464"/>
              <a:gd name="T105" fmla="*/ 1004 h 3991"/>
              <a:gd name="T106" fmla="*/ 487 w 4464"/>
              <a:gd name="T107" fmla="*/ 956 h 3991"/>
              <a:gd name="T108" fmla="*/ 598 w 4464"/>
              <a:gd name="T109" fmla="*/ 975 h 3991"/>
              <a:gd name="T110" fmla="*/ 807 w 4464"/>
              <a:gd name="T111" fmla="*/ 1027 h 3991"/>
              <a:gd name="T112" fmla="*/ 896 w 4464"/>
              <a:gd name="T113" fmla="*/ 1067 h 3991"/>
              <a:gd name="T114" fmla="*/ 1017 w 4464"/>
              <a:gd name="T115" fmla="*/ 925 h 3991"/>
              <a:gd name="T116" fmla="*/ 963 w 4464"/>
              <a:gd name="T117" fmla="*/ 739 h 3991"/>
              <a:gd name="T118" fmla="*/ 1024 w 4464"/>
              <a:gd name="T119" fmla="*/ 613 h 3991"/>
              <a:gd name="T120" fmla="*/ 1441 w 4464"/>
              <a:gd name="T121" fmla="*/ 762 h 3991"/>
              <a:gd name="T122" fmla="*/ 1902 w 4464"/>
              <a:gd name="T123" fmla="*/ 374 h 3991"/>
              <a:gd name="T124" fmla="*/ 2068 w 4464"/>
              <a:gd name="T125" fmla="*/ 3676 h 3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4" h="3991" extrusionOk="0">
                <a:moveTo>
                  <a:pt x="4405" y="3425"/>
                </a:moveTo>
                <a:lnTo>
                  <a:pt x="4405" y="3425"/>
                </a:lnTo>
                <a:lnTo>
                  <a:pt x="4408" y="3437"/>
                </a:lnTo>
                <a:lnTo>
                  <a:pt x="4408" y="3437"/>
                </a:lnTo>
                <a:lnTo>
                  <a:pt x="4405" y="3439"/>
                </a:lnTo>
                <a:lnTo>
                  <a:pt x="4405" y="3439"/>
                </a:lnTo>
                <a:lnTo>
                  <a:pt x="4405" y="3441"/>
                </a:lnTo>
                <a:lnTo>
                  <a:pt x="4408" y="3444"/>
                </a:lnTo>
                <a:lnTo>
                  <a:pt x="4408" y="3444"/>
                </a:lnTo>
                <a:lnTo>
                  <a:pt x="4410" y="3444"/>
                </a:lnTo>
                <a:lnTo>
                  <a:pt x="4410" y="3444"/>
                </a:lnTo>
                <a:lnTo>
                  <a:pt x="4412" y="3449"/>
                </a:lnTo>
                <a:lnTo>
                  <a:pt x="4412" y="3451"/>
                </a:lnTo>
                <a:lnTo>
                  <a:pt x="4412" y="3453"/>
                </a:lnTo>
                <a:lnTo>
                  <a:pt x="4412" y="3456"/>
                </a:lnTo>
                <a:lnTo>
                  <a:pt x="4415" y="3458"/>
                </a:lnTo>
                <a:lnTo>
                  <a:pt x="4415" y="3460"/>
                </a:lnTo>
                <a:lnTo>
                  <a:pt x="4417" y="3463"/>
                </a:lnTo>
                <a:lnTo>
                  <a:pt x="4419" y="3467"/>
                </a:lnTo>
                <a:lnTo>
                  <a:pt x="4422" y="3467"/>
                </a:lnTo>
                <a:lnTo>
                  <a:pt x="4431" y="3472"/>
                </a:lnTo>
                <a:lnTo>
                  <a:pt x="4429" y="3465"/>
                </a:lnTo>
                <a:lnTo>
                  <a:pt x="4427" y="3463"/>
                </a:lnTo>
                <a:lnTo>
                  <a:pt x="4422" y="3451"/>
                </a:lnTo>
                <a:lnTo>
                  <a:pt x="4431" y="3465"/>
                </a:lnTo>
                <a:lnTo>
                  <a:pt x="4436" y="3472"/>
                </a:lnTo>
                <a:lnTo>
                  <a:pt x="4438" y="3479"/>
                </a:lnTo>
                <a:lnTo>
                  <a:pt x="4441" y="3503"/>
                </a:lnTo>
                <a:lnTo>
                  <a:pt x="4443" y="3517"/>
                </a:lnTo>
                <a:lnTo>
                  <a:pt x="4448" y="3524"/>
                </a:lnTo>
                <a:lnTo>
                  <a:pt x="4446" y="3531"/>
                </a:lnTo>
                <a:lnTo>
                  <a:pt x="4446" y="3536"/>
                </a:lnTo>
                <a:lnTo>
                  <a:pt x="4446" y="3543"/>
                </a:lnTo>
                <a:lnTo>
                  <a:pt x="4446" y="3553"/>
                </a:lnTo>
                <a:lnTo>
                  <a:pt x="4448" y="3560"/>
                </a:lnTo>
                <a:lnTo>
                  <a:pt x="4457" y="3576"/>
                </a:lnTo>
                <a:lnTo>
                  <a:pt x="4457" y="3583"/>
                </a:lnTo>
                <a:lnTo>
                  <a:pt x="4462" y="3638"/>
                </a:lnTo>
                <a:lnTo>
                  <a:pt x="4464" y="3647"/>
                </a:lnTo>
                <a:lnTo>
                  <a:pt x="4464" y="3650"/>
                </a:lnTo>
                <a:lnTo>
                  <a:pt x="4464" y="3659"/>
                </a:lnTo>
                <a:lnTo>
                  <a:pt x="4464" y="3662"/>
                </a:lnTo>
                <a:lnTo>
                  <a:pt x="4462" y="3666"/>
                </a:lnTo>
                <a:lnTo>
                  <a:pt x="4455" y="3676"/>
                </a:lnTo>
                <a:lnTo>
                  <a:pt x="4453" y="3681"/>
                </a:lnTo>
                <a:lnTo>
                  <a:pt x="4450" y="3692"/>
                </a:lnTo>
                <a:lnTo>
                  <a:pt x="4431" y="3725"/>
                </a:lnTo>
                <a:lnTo>
                  <a:pt x="4427" y="3730"/>
                </a:lnTo>
                <a:lnTo>
                  <a:pt x="4427" y="3735"/>
                </a:lnTo>
                <a:lnTo>
                  <a:pt x="4427" y="3749"/>
                </a:lnTo>
                <a:lnTo>
                  <a:pt x="4427" y="3780"/>
                </a:lnTo>
                <a:lnTo>
                  <a:pt x="4434" y="3808"/>
                </a:lnTo>
                <a:lnTo>
                  <a:pt x="4436" y="3839"/>
                </a:lnTo>
                <a:lnTo>
                  <a:pt x="4436" y="3841"/>
                </a:lnTo>
                <a:lnTo>
                  <a:pt x="4434" y="3844"/>
                </a:lnTo>
                <a:lnTo>
                  <a:pt x="4431" y="3846"/>
                </a:lnTo>
                <a:lnTo>
                  <a:pt x="4429" y="3851"/>
                </a:lnTo>
                <a:lnTo>
                  <a:pt x="4427" y="3856"/>
                </a:lnTo>
                <a:lnTo>
                  <a:pt x="4431" y="3853"/>
                </a:lnTo>
                <a:lnTo>
                  <a:pt x="4431" y="3863"/>
                </a:lnTo>
                <a:lnTo>
                  <a:pt x="4431" y="3867"/>
                </a:lnTo>
                <a:lnTo>
                  <a:pt x="4427" y="3870"/>
                </a:lnTo>
                <a:lnTo>
                  <a:pt x="4424" y="3870"/>
                </a:lnTo>
                <a:lnTo>
                  <a:pt x="4422" y="3870"/>
                </a:lnTo>
                <a:lnTo>
                  <a:pt x="4422" y="3872"/>
                </a:lnTo>
                <a:lnTo>
                  <a:pt x="4424" y="3879"/>
                </a:lnTo>
                <a:lnTo>
                  <a:pt x="4419" y="3877"/>
                </a:lnTo>
                <a:lnTo>
                  <a:pt x="4415" y="3877"/>
                </a:lnTo>
                <a:lnTo>
                  <a:pt x="4410" y="3877"/>
                </a:lnTo>
                <a:lnTo>
                  <a:pt x="4405" y="3877"/>
                </a:lnTo>
                <a:lnTo>
                  <a:pt x="4408" y="3882"/>
                </a:lnTo>
                <a:lnTo>
                  <a:pt x="4405" y="3886"/>
                </a:lnTo>
                <a:lnTo>
                  <a:pt x="4403" y="3889"/>
                </a:lnTo>
                <a:lnTo>
                  <a:pt x="4408" y="3891"/>
                </a:lnTo>
                <a:lnTo>
                  <a:pt x="4417" y="3886"/>
                </a:lnTo>
                <a:lnTo>
                  <a:pt x="4424" y="3884"/>
                </a:lnTo>
                <a:lnTo>
                  <a:pt x="4427" y="3889"/>
                </a:lnTo>
                <a:lnTo>
                  <a:pt x="4427" y="3894"/>
                </a:lnTo>
                <a:lnTo>
                  <a:pt x="4424" y="3901"/>
                </a:lnTo>
                <a:lnTo>
                  <a:pt x="4419" y="3903"/>
                </a:lnTo>
                <a:lnTo>
                  <a:pt x="4415" y="3905"/>
                </a:lnTo>
                <a:lnTo>
                  <a:pt x="4412" y="3908"/>
                </a:lnTo>
                <a:lnTo>
                  <a:pt x="4410" y="3912"/>
                </a:lnTo>
                <a:lnTo>
                  <a:pt x="4408" y="3917"/>
                </a:lnTo>
                <a:lnTo>
                  <a:pt x="4401" y="3920"/>
                </a:lnTo>
                <a:lnTo>
                  <a:pt x="4403" y="3922"/>
                </a:lnTo>
                <a:lnTo>
                  <a:pt x="4403" y="3924"/>
                </a:lnTo>
                <a:lnTo>
                  <a:pt x="4403" y="3927"/>
                </a:lnTo>
                <a:lnTo>
                  <a:pt x="4403" y="3931"/>
                </a:lnTo>
                <a:lnTo>
                  <a:pt x="4408" y="3931"/>
                </a:lnTo>
                <a:lnTo>
                  <a:pt x="4408" y="3936"/>
                </a:lnTo>
                <a:lnTo>
                  <a:pt x="4408" y="3938"/>
                </a:lnTo>
                <a:lnTo>
                  <a:pt x="4403" y="3943"/>
                </a:lnTo>
                <a:lnTo>
                  <a:pt x="4405" y="3946"/>
                </a:lnTo>
                <a:lnTo>
                  <a:pt x="4401" y="3948"/>
                </a:lnTo>
                <a:lnTo>
                  <a:pt x="4393" y="3955"/>
                </a:lnTo>
                <a:lnTo>
                  <a:pt x="4389" y="3955"/>
                </a:lnTo>
                <a:lnTo>
                  <a:pt x="4389" y="3960"/>
                </a:lnTo>
                <a:lnTo>
                  <a:pt x="4391" y="3962"/>
                </a:lnTo>
                <a:lnTo>
                  <a:pt x="4393" y="3965"/>
                </a:lnTo>
                <a:lnTo>
                  <a:pt x="4393" y="3967"/>
                </a:lnTo>
                <a:lnTo>
                  <a:pt x="4389" y="3972"/>
                </a:lnTo>
                <a:lnTo>
                  <a:pt x="4391" y="3974"/>
                </a:lnTo>
                <a:lnTo>
                  <a:pt x="4393" y="3972"/>
                </a:lnTo>
                <a:lnTo>
                  <a:pt x="4398" y="3967"/>
                </a:lnTo>
                <a:lnTo>
                  <a:pt x="4401" y="3962"/>
                </a:lnTo>
                <a:lnTo>
                  <a:pt x="4401" y="3969"/>
                </a:lnTo>
                <a:lnTo>
                  <a:pt x="4401" y="3976"/>
                </a:lnTo>
                <a:lnTo>
                  <a:pt x="4398" y="3983"/>
                </a:lnTo>
                <a:lnTo>
                  <a:pt x="4396" y="3988"/>
                </a:lnTo>
                <a:lnTo>
                  <a:pt x="4391" y="3991"/>
                </a:lnTo>
                <a:lnTo>
                  <a:pt x="4386" y="3991"/>
                </a:lnTo>
                <a:lnTo>
                  <a:pt x="4377" y="3983"/>
                </a:lnTo>
                <a:lnTo>
                  <a:pt x="4372" y="3981"/>
                </a:lnTo>
                <a:lnTo>
                  <a:pt x="4363" y="3981"/>
                </a:lnTo>
                <a:lnTo>
                  <a:pt x="4353" y="3979"/>
                </a:lnTo>
                <a:lnTo>
                  <a:pt x="4356" y="3967"/>
                </a:lnTo>
                <a:lnTo>
                  <a:pt x="4358" y="3967"/>
                </a:lnTo>
                <a:lnTo>
                  <a:pt x="4360" y="3965"/>
                </a:lnTo>
                <a:lnTo>
                  <a:pt x="4356" y="3962"/>
                </a:lnTo>
                <a:lnTo>
                  <a:pt x="4346" y="3960"/>
                </a:lnTo>
                <a:lnTo>
                  <a:pt x="4341" y="3955"/>
                </a:lnTo>
                <a:lnTo>
                  <a:pt x="4346" y="3948"/>
                </a:lnTo>
                <a:lnTo>
                  <a:pt x="4346" y="3946"/>
                </a:lnTo>
                <a:lnTo>
                  <a:pt x="4341" y="3948"/>
                </a:lnTo>
                <a:lnTo>
                  <a:pt x="4334" y="3957"/>
                </a:lnTo>
                <a:lnTo>
                  <a:pt x="4332" y="3953"/>
                </a:lnTo>
                <a:lnTo>
                  <a:pt x="4332" y="3953"/>
                </a:lnTo>
                <a:lnTo>
                  <a:pt x="4332" y="3953"/>
                </a:lnTo>
                <a:lnTo>
                  <a:pt x="4332" y="3953"/>
                </a:lnTo>
                <a:lnTo>
                  <a:pt x="4332" y="3950"/>
                </a:lnTo>
                <a:lnTo>
                  <a:pt x="4330" y="3953"/>
                </a:lnTo>
                <a:lnTo>
                  <a:pt x="4327" y="3953"/>
                </a:lnTo>
                <a:lnTo>
                  <a:pt x="4327" y="3955"/>
                </a:lnTo>
                <a:lnTo>
                  <a:pt x="4325" y="3950"/>
                </a:lnTo>
                <a:lnTo>
                  <a:pt x="4320" y="3948"/>
                </a:lnTo>
                <a:lnTo>
                  <a:pt x="4313" y="3948"/>
                </a:lnTo>
                <a:lnTo>
                  <a:pt x="4304" y="3948"/>
                </a:lnTo>
                <a:lnTo>
                  <a:pt x="4299" y="3948"/>
                </a:lnTo>
                <a:lnTo>
                  <a:pt x="4296" y="3946"/>
                </a:lnTo>
                <a:lnTo>
                  <a:pt x="4294" y="3943"/>
                </a:lnTo>
                <a:lnTo>
                  <a:pt x="4289" y="3941"/>
                </a:lnTo>
                <a:lnTo>
                  <a:pt x="4282" y="3941"/>
                </a:lnTo>
                <a:lnTo>
                  <a:pt x="4282" y="3938"/>
                </a:lnTo>
                <a:lnTo>
                  <a:pt x="4280" y="3938"/>
                </a:lnTo>
                <a:lnTo>
                  <a:pt x="4278" y="3936"/>
                </a:lnTo>
                <a:lnTo>
                  <a:pt x="4275" y="3936"/>
                </a:lnTo>
                <a:lnTo>
                  <a:pt x="4273" y="3936"/>
                </a:lnTo>
                <a:lnTo>
                  <a:pt x="4270" y="3936"/>
                </a:lnTo>
                <a:lnTo>
                  <a:pt x="4268" y="3934"/>
                </a:lnTo>
                <a:lnTo>
                  <a:pt x="4270" y="3931"/>
                </a:lnTo>
                <a:lnTo>
                  <a:pt x="4270" y="3929"/>
                </a:lnTo>
                <a:lnTo>
                  <a:pt x="4266" y="3927"/>
                </a:lnTo>
                <a:lnTo>
                  <a:pt x="4263" y="3927"/>
                </a:lnTo>
                <a:lnTo>
                  <a:pt x="4261" y="3927"/>
                </a:lnTo>
                <a:lnTo>
                  <a:pt x="4256" y="3927"/>
                </a:lnTo>
                <a:lnTo>
                  <a:pt x="4254" y="3924"/>
                </a:lnTo>
                <a:lnTo>
                  <a:pt x="4251" y="3922"/>
                </a:lnTo>
                <a:lnTo>
                  <a:pt x="4251" y="3915"/>
                </a:lnTo>
                <a:lnTo>
                  <a:pt x="4249" y="3912"/>
                </a:lnTo>
                <a:lnTo>
                  <a:pt x="4244" y="3910"/>
                </a:lnTo>
                <a:lnTo>
                  <a:pt x="4247" y="3905"/>
                </a:lnTo>
                <a:lnTo>
                  <a:pt x="4249" y="3896"/>
                </a:lnTo>
                <a:lnTo>
                  <a:pt x="4251" y="3889"/>
                </a:lnTo>
                <a:lnTo>
                  <a:pt x="4256" y="3891"/>
                </a:lnTo>
                <a:lnTo>
                  <a:pt x="4273" y="3882"/>
                </a:lnTo>
                <a:lnTo>
                  <a:pt x="4275" y="3879"/>
                </a:lnTo>
                <a:lnTo>
                  <a:pt x="4275" y="3872"/>
                </a:lnTo>
                <a:lnTo>
                  <a:pt x="4280" y="3870"/>
                </a:lnTo>
                <a:lnTo>
                  <a:pt x="4282" y="3867"/>
                </a:lnTo>
                <a:lnTo>
                  <a:pt x="4287" y="3863"/>
                </a:lnTo>
                <a:lnTo>
                  <a:pt x="4280" y="3863"/>
                </a:lnTo>
                <a:lnTo>
                  <a:pt x="4259" y="3858"/>
                </a:lnTo>
                <a:lnTo>
                  <a:pt x="4251" y="3860"/>
                </a:lnTo>
                <a:lnTo>
                  <a:pt x="4244" y="3858"/>
                </a:lnTo>
                <a:lnTo>
                  <a:pt x="4240" y="3856"/>
                </a:lnTo>
                <a:lnTo>
                  <a:pt x="4240" y="3846"/>
                </a:lnTo>
                <a:lnTo>
                  <a:pt x="4233" y="3846"/>
                </a:lnTo>
                <a:lnTo>
                  <a:pt x="4221" y="3853"/>
                </a:lnTo>
                <a:lnTo>
                  <a:pt x="4214" y="3856"/>
                </a:lnTo>
                <a:lnTo>
                  <a:pt x="4214" y="3853"/>
                </a:lnTo>
                <a:lnTo>
                  <a:pt x="4216" y="3849"/>
                </a:lnTo>
                <a:lnTo>
                  <a:pt x="4211" y="3851"/>
                </a:lnTo>
                <a:lnTo>
                  <a:pt x="4207" y="3849"/>
                </a:lnTo>
                <a:lnTo>
                  <a:pt x="4204" y="3849"/>
                </a:lnTo>
                <a:lnTo>
                  <a:pt x="4199" y="3849"/>
                </a:lnTo>
                <a:lnTo>
                  <a:pt x="4204" y="3846"/>
                </a:lnTo>
                <a:lnTo>
                  <a:pt x="4211" y="3844"/>
                </a:lnTo>
                <a:lnTo>
                  <a:pt x="4216" y="3839"/>
                </a:lnTo>
                <a:lnTo>
                  <a:pt x="4218" y="3837"/>
                </a:lnTo>
                <a:lnTo>
                  <a:pt x="4218" y="3832"/>
                </a:lnTo>
                <a:lnTo>
                  <a:pt x="4218" y="3827"/>
                </a:lnTo>
                <a:lnTo>
                  <a:pt x="4214" y="3825"/>
                </a:lnTo>
                <a:lnTo>
                  <a:pt x="4214" y="3823"/>
                </a:lnTo>
                <a:lnTo>
                  <a:pt x="4221" y="3823"/>
                </a:lnTo>
                <a:lnTo>
                  <a:pt x="4228" y="3818"/>
                </a:lnTo>
                <a:lnTo>
                  <a:pt x="4237" y="3811"/>
                </a:lnTo>
                <a:lnTo>
                  <a:pt x="4235" y="3808"/>
                </a:lnTo>
                <a:lnTo>
                  <a:pt x="4233" y="3806"/>
                </a:lnTo>
                <a:lnTo>
                  <a:pt x="4230" y="3804"/>
                </a:lnTo>
                <a:lnTo>
                  <a:pt x="4225" y="3804"/>
                </a:lnTo>
                <a:lnTo>
                  <a:pt x="4235" y="3799"/>
                </a:lnTo>
                <a:lnTo>
                  <a:pt x="4237" y="3796"/>
                </a:lnTo>
                <a:lnTo>
                  <a:pt x="4237" y="3796"/>
                </a:lnTo>
                <a:lnTo>
                  <a:pt x="4235" y="3794"/>
                </a:lnTo>
                <a:lnTo>
                  <a:pt x="4235" y="3792"/>
                </a:lnTo>
                <a:lnTo>
                  <a:pt x="4233" y="3792"/>
                </a:lnTo>
                <a:lnTo>
                  <a:pt x="4237" y="3785"/>
                </a:lnTo>
                <a:lnTo>
                  <a:pt x="4237" y="3785"/>
                </a:lnTo>
                <a:lnTo>
                  <a:pt x="4237" y="3782"/>
                </a:lnTo>
                <a:lnTo>
                  <a:pt x="4240" y="3778"/>
                </a:lnTo>
                <a:lnTo>
                  <a:pt x="4240" y="3775"/>
                </a:lnTo>
                <a:lnTo>
                  <a:pt x="4240" y="3775"/>
                </a:lnTo>
                <a:lnTo>
                  <a:pt x="4235" y="3773"/>
                </a:lnTo>
                <a:lnTo>
                  <a:pt x="4233" y="3770"/>
                </a:lnTo>
                <a:lnTo>
                  <a:pt x="4233" y="3768"/>
                </a:lnTo>
                <a:lnTo>
                  <a:pt x="4230" y="3766"/>
                </a:lnTo>
                <a:lnTo>
                  <a:pt x="4225" y="3766"/>
                </a:lnTo>
                <a:lnTo>
                  <a:pt x="4221" y="3768"/>
                </a:lnTo>
                <a:lnTo>
                  <a:pt x="4209" y="3775"/>
                </a:lnTo>
                <a:lnTo>
                  <a:pt x="4204" y="3778"/>
                </a:lnTo>
                <a:lnTo>
                  <a:pt x="4190" y="3780"/>
                </a:lnTo>
                <a:lnTo>
                  <a:pt x="4185" y="3780"/>
                </a:lnTo>
                <a:lnTo>
                  <a:pt x="4181" y="3785"/>
                </a:lnTo>
                <a:lnTo>
                  <a:pt x="4178" y="3780"/>
                </a:lnTo>
                <a:lnTo>
                  <a:pt x="4181" y="3773"/>
                </a:lnTo>
                <a:lnTo>
                  <a:pt x="4178" y="3766"/>
                </a:lnTo>
                <a:lnTo>
                  <a:pt x="4169" y="3756"/>
                </a:lnTo>
                <a:lnTo>
                  <a:pt x="4183" y="3754"/>
                </a:lnTo>
                <a:lnTo>
                  <a:pt x="4190" y="3752"/>
                </a:lnTo>
                <a:lnTo>
                  <a:pt x="4192" y="3742"/>
                </a:lnTo>
                <a:lnTo>
                  <a:pt x="4190" y="3740"/>
                </a:lnTo>
                <a:lnTo>
                  <a:pt x="4192" y="3735"/>
                </a:lnTo>
                <a:lnTo>
                  <a:pt x="4197" y="3730"/>
                </a:lnTo>
                <a:lnTo>
                  <a:pt x="4204" y="3728"/>
                </a:lnTo>
                <a:lnTo>
                  <a:pt x="4204" y="3725"/>
                </a:lnTo>
                <a:lnTo>
                  <a:pt x="4214" y="3721"/>
                </a:lnTo>
                <a:lnTo>
                  <a:pt x="4214" y="3721"/>
                </a:lnTo>
                <a:lnTo>
                  <a:pt x="4214" y="3714"/>
                </a:lnTo>
                <a:lnTo>
                  <a:pt x="4214" y="3711"/>
                </a:lnTo>
                <a:lnTo>
                  <a:pt x="4207" y="3709"/>
                </a:lnTo>
                <a:lnTo>
                  <a:pt x="4199" y="3697"/>
                </a:lnTo>
                <a:lnTo>
                  <a:pt x="4197" y="3695"/>
                </a:lnTo>
                <a:lnTo>
                  <a:pt x="4195" y="3692"/>
                </a:lnTo>
                <a:lnTo>
                  <a:pt x="4185" y="3697"/>
                </a:lnTo>
                <a:lnTo>
                  <a:pt x="4185" y="3695"/>
                </a:lnTo>
                <a:lnTo>
                  <a:pt x="4181" y="3690"/>
                </a:lnTo>
                <a:lnTo>
                  <a:pt x="4176" y="3688"/>
                </a:lnTo>
                <a:lnTo>
                  <a:pt x="4169" y="3685"/>
                </a:lnTo>
                <a:lnTo>
                  <a:pt x="4162" y="3688"/>
                </a:lnTo>
                <a:lnTo>
                  <a:pt x="4162" y="3683"/>
                </a:lnTo>
                <a:lnTo>
                  <a:pt x="4164" y="3681"/>
                </a:lnTo>
                <a:lnTo>
                  <a:pt x="4162" y="3681"/>
                </a:lnTo>
                <a:lnTo>
                  <a:pt x="4159" y="3678"/>
                </a:lnTo>
                <a:lnTo>
                  <a:pt x="4154" y="3678"/>
                </a:lnTo>
                <a:lnTo>
                  <a:pt x="4152" y="3678"/>
                </a:lnTo>
                <a:lnTo>
                  <a:pt x="4154" y="3678"/>
                </a:lnTo>
                <a:lnTo>
                  <a:pt x="4157" y="3676"/>
                </a:lnTo>
                <a:lnTo>
                  <a:pt x="4162" y="3673"/>
                </a:lnTo>
                <a:lnTo>
                  <a:pt x="4162" y="3669"/>
                </a:lnTo>
                <a:lnTo>
                  <a:pt x="4154" y="3671"/>
                </a:lnTo>
                <a:lnTo>
                  <a:pt x="4152" y="3666"/>
                </a:lnTo>
                <a:lnTo>
                  <a:pt x="4157" y="3666"/>
                </a:lnTo>
                <a:lnTo>
                  <a:pt x="4157" y="3662"/>
                </a:lnTo>
                <a:lnTo>
                  <a:pt x="4157" y="3657"/>
                </a:lnTo>
                <a:lnTo>
                  <a:pt x="4152" y="3657"/>
                </a:lnTo>
                <a:lnTo>
                  <a:pt x="4154" y="3650"/>
                </a:lnTo>
                <a:lnTo>
                  <a:pt x="4152" y="3650"/>
                </a:lnTo>
                <a:lnTo>
                  <a:pt x="4147" y="3647"/>
                </a:lnTo>
                <a:lnTo>
                  <a:pt x="4145" y="3647"/>
                </a:lnTo>
                <a:lnTo>
                  <a:pt x="4145" y="3643"/>
                </a:lnTo>
                <a:lnTo>
                  <a:pt x="4147" y="3640"/>
                </a:lnTo>
                <a:lnTo>
                  <a:pt x="4157" y="3640"/>
                </a:lnTo>
                <a:lnTo>
                  <a:pt x="4159" y="3638"/>
                </a:lnTo>
                <a:lnTo>
                  <a:pt x="4162" y="3638"/>
                </a:lnTo>
                <a:lnTo>
                  <a:pt x="4164" y="3636"/>
                </a:lnTo>
                <a:lnTo>
                  <a:pt x="4176" y="3631"/>
                </a:lnTo>
                <a:lnTo>
                  <a:pt x="4181" y="3628"/>
                </a:lnTo>
                <a:lnTo>
                  <a:pt x="4183" y="3626"/>
                </a:lnTo>
                <a:lnTo>
                  <a:pt x="4185" y="3624"/>
                </a:lnTo>
                <a:lnTo>
                  <a:pt x="4188" y="3626"/>
                </a:lnTo>
                <a:lnTo>
                  <a:pt x="4188" y="3624"/>
                </a:lnTo>
                <a:lnTo>
                  <a:pt x="4188" y="3621"/>
                </a:lnTo>
                <a:lnTo>
                  <a:pt x="4183" y="3619"/>
                </a:lnTo>
                <a:lnTo>
                  <a:pt x="4181" y="3617"/>
                </a:lnTo>
                <a:lnTo>
                  <a:pt x="4169" y="3612"/>
                </a:lnTo>
                <a:lnTo>
                  <a:pt x="4169" y="3612"/>
                </a:lnTo>
                <a:lnTo>
                  <a:pt x="4166" y="3610"/>
                </a:lnTo>
                <a:lnTo>
                  <a:pt x="4166" y="3607"/>
                </a:lnTo>
                <a:lnTo>
                  <a:pt x="4162" y="3612"/>
                </a:lnTo>
                <a:lnTo>
                  <a:pt x="4159" y="3612"/>
                </a:lnTo>
                <a:lnTo>
                  <a:pt x="4159" y="3610"/>
                </a:lnTo>
                <a:lnTo>
                  <a:pt x="4157" y="3607"/>
                </a:lnTo>
                <a:lnTo>
                  <a:pt x="4159" y="3605"/>
                </a:lnTo>
                <a:lnTo>
                  <a:pt x="4169" y="3598"/>
                </a:lnTo>
                <a:lnTo>
                  <a:pt x="4162" y="3593"/>
                </a:lnTo>
                <a:lnTo>
                  <a:pt x="4154" y="3595"/>
                </a:lnTo>
                <a:lnTo>
                  <a:pt x="4143" y="3600"/>
                </a:lnTo>
                <a:lnTo>
                  <a:pt x="4145" y="3598"/>
                </a:lnTo>
                <a:lnTo>
                  <a:pt x="4143" y="3595"/>
                </a:lnTo>
                <a:lnTo>
                  <a:pt x="4140" y="3591"/>
                </a:lnTo>
                <a:lnTo>
                  <a:pt x="4140" y="3586"/>
                </a:lnTo>
                <a:lnTo>
                  <a:pt x="4140" y="3581"/>
                </a:lnTo>
                <a:lnTo>
                  <a:pt x="4143" y="3583"/>
                </a:lnTo>
                <a:lnTo>
                  <a:pt x="4145" y="3581"/>
                </a:lnTo>
                <a:lnTo>
                  <a:pt x="4150" y="3581"/>
                </a:lnTo>
                <a:lnTo>
                  <a:pt x="4150" y="3576"/>
                </a:lnTo>
                <a:lnTo>
                  <a:pt x="4154" y="3579"/>
                </a:lnTo>
                <a:lnTo>
                  <a:pt x="4154" y="3576"/>
                </a:lnTo>
                <a:lnTo>
                  <a:pt x="4154" y="3574"/>
                </a:lnTo>
                <a:lnTo>
                  <a:pt x="4157" y="3569"/>
                </a:lnTo>
                <a:lnTo>
                  <a:pt x="4157" y="3567"/>
                </a:lnTo>
                <a:lnTo>
                  <a:pt x="4159" y="3567"/>
                </a:lnTo>
                <a:lnTo>
                  <a:pt x="4159" y="3565"/>
                </a:lnTo>
                <a:lnTo>
                  <a:pt x="4169" y="3562"/>
                </a:lnTo>
                <a:lnTo>
                  <a:pt x="4171" y="3560"/>
                </a:lnTo>
                <a:lnTo>
                  <a:pt x="4171" y="3555"/>
                </a:lnTo>
                <a:lnTo>
                  <a:pt x="4171" y="3550"/>
                </a:lnTo>
                <a:lnTo>
                  <a:pt x="4173" y="3543"/>
                </a:lnTo>
                <a:lnTo>
                  <a:pt x="4176" y="3541"/>
                </a:lnTo>
                <a:lnTo>
                  <a:pt x="4173" y="3538"/>
                </a:lnTo>
                <a:lnTo>
                  <a:pt x="4169" y="3538"/>
                </a:lnTo>
                <a:lnTo>
                  <a:pt x="4169" y="3538"/>
                </a:lnTo>
                <a:lnTo>
                  <a:pt x="4169" y="3536"/>
                </a:lnTo>
                <a:lnTo>
                  <a:pt x="4171" y="3524"/>
                </a:lnTo>
                <a:lnTo>
                  <a:pt x="4173" y="3520"/>
                </a:lnTo>
                <a:lnTo>
                  <a:pt x="4178" y="3517"/>
                </a:lnTo>
                <a:lnTo>
                  <a:pt x="4185" y="3515"/>
                </a:lnTo>
                <a:lnTo>
                  <a:pt x="4183" y="3510"/>
                </a:lnTo>
                <a:lnTo>
                  <a:pt x="4183" y="3501"/>
                </a:lnTo>
                <a:lnTo>
                  <a:pt x="4181" y="3496"/>
                </a:lnTo>
                <a:lnTo>
                  <a:pt x="4181" y="3494"/>
                </a:lnTo>
                <a:lnTo>
                  <a:pt x="4183" y="3496"/>
                </a:lnTo>
                <a:lnTo>
                  <a:pt x="4185" y="3494"/>
                </a:lnTo>
                <a:lnTo>
                  <a:pt x="4185" y="3496"/>
                </a:lnTo>
                <a:lnTo>
                  <a:pt x="4185" y="3498"/>
                </a:lnTo>
                <a:lnTo>
                  <a:pt x="4190" y="3496"/>
                </a:lnTo>
                <a:lnTo>
                  <a:pt x="4195" y="3496"/>
                </a:lnTo>
                <a:lnTo>
                  <a:pt x="4197" y="3498"/>
                </a:lnTo>
                <a:lnTo>
                  <a:pt x="4202" y="3501"/>
                </a:lnTo>
                <a:lnTo>
                  <a:pt x="4207" y="3498"/>
                </a:lnTo>
                <a:lnTo>
                  <a:pt x="4209" y="3494"/>
                </a:lnTo>
                <a:lnTo>
                  <a:pt x="4211" y="3489"/>
                </a:lnTo>
                <a:lnTo>
                  <a:pt x="4211" y="3482"/>
                </a:lnTo>
                <a:lnTo>
                  <a:pt x="4209" y="3479"/>
                </a:lnTo>
                <a:lnTo>
                  <a:pt x="4221" y="3477"/>
                </a:lnTo>
                <a:lnTo>
                  <a:pt x="4240" y="3465"/>
                </a:lnTo>
                <a:lnTo>
                  <a:pt x="4273" y="3453"/>
                </a:lnTo>
                <a:lnTo>
                  <a:pt x="4282" y="3446"/>
                </a:lnTo>
                <a:lnTo>
                  <a:pt x="4282" y="3439"/>
                </a:lnTo>
                <a:lnTo>
                  <a:pt x="4296" y="3418"/>
                </a:lnTo>
                <a:lnTo>
                  <a:pt x="4301" y="3415"/>
                </a:lnTo>
                <a:lnTo>
                  <a:pt x="4308" y="3413"/>
                </a:lnTo>
                <a:lnTo>
                  <a:pt x="4315" y="3411"/>
                </a:lnTo>
                <a:lnTo>
                  <a:pt x="4318" y="3413"/>
                </a:lnTo>
                <a:lnTo>
                  <a:pt x="4322" y="3411"/>
                </a:lnTo>
                <a:lnTo>
                  <a:pt x="4339" y="3415"/>
                </a:lnTo>
                <a:lnTo>
                  <a:pt x="4344" y="3418"/>
                </a:lnTo>
                <a:lnTo>
                  <a:pt x="4346" y="3420"/>
                </a:lnTo>
                <a:lnTo>
                  <a:pt x="4349" y="3423"/>
                </a:lnTo>
                <a:lnTo>
                  <a:pt x="4351" y="3425"/>
                </a:lnTo>
                <a:lnTo>
                  <a:pt x="4356" y="3432"/>
                </a:lnTo>
                <a:lnTo>
                  <a:pt x="4358" y="3432"/>
                </a:lnTo>
                <a:lnTo>
                  <a:pt x="4365" y="3413"/>
                </a:lnTo>
                <a:lnTo>
                  <a:pt x="4370" y="3399"/>
                </a:lnTo>
                <a:lnTo>
                  <a:pt x="4365" y="3389"/>
                </a:lnTo>
                <a:lnTo>
                  <a:pt x="4367" y="3382"/>
                </a:lnTo>
                <a:lnTo>
                  <a:pt x="4365" y="3375"/>
                </a:lnTo>
                <a:lnTo>
                  <a:pt x="4360" y="3368"/>
                </a:lnTo>
                <a:lnTo>
                  <a:pt x="4353" y="3363"/>
                </a:lnTo>
                <a:lnTo>
                  <a:pt x="4360" y="3349"/>
                </a:lnTo>
                <a:lnTo>
                  <a:pt x="4360" y="3347"/>
                </a:lnTo>
                <a:lnTo>
                  <a:pt x="4358" y="3342"/>
                </a:lnTo>
                <a:lnTo>
                  <a:pt x="4358" y="3340"/>
                </a:lnTo>
                <a:lnTo>
                  <a:pt x="4358" y="3335"/>
                </a:lnTo>
                <a:lnTo>
                  <a:pt x="4360" y="3330"/>
                </a:lnTo>
                <a:lnTo>
                  <a:pt x="4367" y="3323"/>
                </a:lnTo>
                <a:lnTo>
                  <a:pt x="4365" y="3321"/>
                </a:lnTo>
                <a:lnTo>
                  <a:pt x="4365" y="3318"/>
                </a:lnTo>
                <a:lnTo>
                  <a:pt x="4365" y="3318"/>
                </a:lnTo>
                <a:lnTo>
                  <a:pt x="4365" y="3314"/>
                </a:lnTo>
                <a:lnTo>
                  <a:pt x="4363" y="3311"/>
                </a:lnTo>
                <a:lnTo>
                  <a:pt x="4358" y="3304"/>
                </a:lnTo>
                <a:lnTo>
                  <a:pt x="4358" y="3297"/>
                </a:lnTo>
                <a:lnTo>
                  <a:pt x="4358" y="3292"/>
                </a:lnTo>
                <a:lnTo>
                  <a:pt x="4363" y="3288"/>
                </a:lnTo>
                <a:lnTo>
                  <a:pt x="4377" y="3285"/>
                </a:lnTo>
                <a:lnTo>
                  <a:pt x="4382" y="3283"/>
                </a:lnTo>
                <a:lnTo>
                  <a:pt x="4386" y="3288"/>
                </a:lnTo>
                <a:lnTo>
                  <a:pt x="4389" y="3290"/>
                </a:lnTo>
                <a:lnTo>
                  <a:pt x="4396" y="3292"/>
                </a:lnTo>
                <a:lnTo>
                  <a:pt x="4396" y="3297"/>
                </a:lnTo>
                <a:lnTo>
                  <a:pt x="4393" y="3299"/>
                </a:lnTo>
                <a:lnTo>
                  <a:pt x="4393" y="3304"/>
                </a:lnTo>
                <a:lnTo>
                  <a:pt x="4396" y="3309"/>
                </a:lnTo>
                <a:lnTo>
                  <a:pt x="4401" y="3314"/>
                </a:lnTo>
                <a:lnTo>
                  <a:pt x="4398" y="3321"/>
                </a:lnTo>
                <a:lnTo>
                  <a:pt x="4410" y="3359"/>
                </a:lnTo>
                <a:lnTo>
                  <a:pt x="4410" y="3373"/>
                </a:lnTo>
                <a:lnTo>
                  <a:pt x="4405" y="3413"/>
                </a:lnTo>
                <a:lnTo>
                  <a:pt x="4405" y="3418"/>
                </a:lnTo>
                <a:lnTo>
                  <a:pt x="4405" y="3425"/>
                </a:lnTo>
                <a:moveTo>
                  <a:pt x="3397" y="3378"/>
                </a:moveTo>
                <a:lnTo>
                  <a:pt x="3397" y="3378"/>
                </a:lnTo>
                <a:lnTo>
                  <a:pt x="3397" y="3382"/>
                </a:lnTo>
                <a:lnTo>
                  <a:pt x="3395" y="3387"/>
                </a:lnTo>
                <a:lnTo>
                  <a:pt x="3390" y="3389"/>
                </a:lnTo>
                <a:lnTo>
                  <a:pt x="3386" y="3392"/>
                </a:lnTo>
                <a:lnTo>
                  <a:pt x="3381" y="3392"/>
                </a:lnTo>
                <a:lnTo>
                  <a:pt x="3374" y="3387"/>
                </a:lnTo>
                <a:lnTo>
                  <a:pt x="3374" y="3385"/>
                </a:lnTo>
                <a:lnTo>
                  <a:pt x="3376" y="3385"/>
                </a:lnTo>
                <a:lnTo>
                  <a:pt x="3386" y="3382"/>
                </a:lnTo>
                <a:lnTo>
                  <a:pt x="3388" y="3382"/>
                </a:lnTo>
                <a:lnTo>
                  <a:pt x="3388" y="3380"/>
                </a:lnTo>
                <a:lnTo>
                  <a:pt x="3390" y="3380"/>
                </a:lnTo>
                <a:lnTo>
                  <a:pt x="3390" y="3380"/>
                </a:lnTo>
                <a:lnTo>
                  <a:pt x="3393" y="3380"/>
                </a:lnTo>
                <a:lnTo>
                  <a:pt x="3395" y="3378"/>
                </a:lnTo>
                <a:lnTo>
                  <a:pt x="3395" y="3375"/>
                </a:lnTo>
                <a:lnTo>
                  <a:pt x="3397" y="3378"/>
                </a:lnTo>
                <a:moveTo>
                  <a:pt x="1069" y="2175"/>
                </a:moveTo>
                <a:lnTo>
                  <a:pt x="1069" y="2175"/>
                </a:lnTo>
                <a:lnTo>
                  <a:pt x="1074" y="2178"/>
                </a:lnTo>
                <a:lnTo>
                  <a:pt x="1076" y="2175"/>
                </a:lnTo>
                <a:lnTo>
                  <a:pt x="1081" y="2175"/>
                </a:lnTo>
                <a:lnTo>
                  <a:pt x="1086" y="2180"/>
                </a:lnTo>
                <a:lnTo>
                  <a:pt x="1086" y="2185"/>
                </a:lnTo>
                <a:lnTo>
                  <a:pt x="1086" y="2189"/>
                </a:lnTo>
                <a:lnTo>
                  <a:pt x="1086" y="2194"/>
                </a:lnTo>
                <a:lnTo>
                  <a:pt x="1088" y="2196"/>
                </a:lnTo>
                <a:lnTo>
                  <a:pt x="1088" y="2201"/>
                </a:lnTo>
                <a:lnTo>
                  <a:pt x="1088" y="2204"/>
                </a:lnTo>
                <a:lnTo>
                  <a:pt x="1090" y="2206"/>
                </a:lnTo>
                <a:lnTo>
                  <a:pt x="1100" y="2213"/>
                </a:lnTo>
                <a:lnTo>
                  <a:pt x="1100" y="2215"/>
                </a:lnTo>
                <a:lnTo>
                  <a:pt x="1102" y="2220"/>
                </a:lnTo>
                <a:lnTo>
                  <a:pt x="1100" y="2237"/>
                </a:lnTo>
                <a:lnTo>
                  <a:pt x="1095" y="2249"/>
                </a:lnTo>
                <a:lnTo>
                  <a:pt x="1090" y="2256"/>
                </a:lnTo>
                <a:lnTo>
                  <a:pt x="1086" y="2253"/>
                </a:lnTo>
                <a:lnTo>
                  <a:pt x="1081" y="2239"/>
                </a:lnTo>
                <a:lnTo>
                  <a:pt x="1079" y="2232"/>
                </a:lnTo>
                <a:lnTo>
                  <a:pt x="1076" y="2227"/>
                </a:lnTo>
                <a:lnTo>
                  <a:pt x="1060" y="2206"/>
                </a:lnTo>
                <a:lnTo>
                  <a:pt x="1053" y="2201"/>
                </a:lnTo>
                <a:lnTo>
                  <a:pt x="1048" y="2194"/>
                </a:lnTo>
                <a:lnTo>
                  <a:pt x="1041" y="2185"/>
                </a:lnTo>
                <a:lnTo>
                  <a:pt x="1043" y="2182"/>
                </a:lnTo>
                <a:lnTo>
                  <a:pt x="1043" y="2178"/>
                </a:lnTo>
                <a:lnTo>
                  <a:pt x="1041" y="2168"/>
                </a:lnTo>
                <a:lnTo>
                  <a:pt x="1034" y="2152"/>
                </a:lnTo>
                <a:lnTo>
                  <a:pt x="1043" y="2154"/>
                </a:lnTo>
                <a:lnTo>
                  <a:pt x="1053" y="2159"/>
                </a:lnTo>
                <a:lnTo>
                  <a:pt x="1062" y="2168"/>
                </a:lnTo>
                <a:lnTo>
                  <a:pt x="1069" y="2175"/>
                </a:lnTo>
                <a:moveTo>
                  <a:pt x="1017" y="2069"/>
                </a:moveTo>
                <a:lnTo>
                  <a:pt x="1017" y="2069"/>
                </a:lnTo>
                <a:lnTo>
                  <a:pt x="1017" y="2071"/>
                </a:lnTo>
                <a:lnTo>
                  <a:pt x="1015" y="2073"/>
                </a:lnTo>
                <a:lnTo>
                  <a:pt x="1008" y="2071"/>
                </a:lnTo>
                <a:lnTo>
                  <a:pt x="1005" y="2071"/>
                </a:lnTo>
                <a:lnTo>
                  <a:pt x="1010" y="2078"/>
                </a:lnTo>
                <a:lnTo>
                  <a:pt x="1019" y="2078"/>
                </a:lnTo>
                <a:lnTo>
                  <a:pt x="1027" y="2076"/>
                </a:lnTo>
                <a:lnTo>
                  <a:pt x="1034" y="2073"/>
                </a:lnTo>
                <a:lnTo>
                  <a:pt x="1034" y="2076"/>
                </a:lnTo>
                <a:lnTo>
                  <a:pt x="1029" y="2076"/>
                </a:lnTo>
                <a:lnTo>
                  <a:pt x="1029" y="2081"/>
                </a:lnTo>
                <a:lnTo>
                  <a:pt x="1034" y="2083"/>
                </a:lnTo>
                <a:lnTo>
                  <a:pt x="1064" y="2088"/>
                </a:lnTo>
                <a:lnTo>
                  <a:pt x="1072" y="2092"/>
                </a:lnTo>
                <a:lnTo>
                  <a:pt x="1076" y="2099"/>
                </a:lnTo>
                <a:lnTo>
                  <a:pt x="1081" y="2107"/>
                </a:lnTo>
                <a:lnTo>
                  <a:pt x="1076" y="2107"/>
                </a:lnTo>
                <a:lnTo>
                  <a:pt x="1076" y="2107"/>
                </a:lnTo>
                <a:lnTo>
                  <a:pt x="1072" y="2109"/>
                </a:lnTo>
                <a:lnTo>
                  <a:pt x="1072" y="2107"/>
                </a:lnTo>
                <a:lnTo>
                  <a:pt x="1069" y="2107"/>
                </a:lnTo>
                <a:lnTo>
                  <a:pt x="1055" y="2104"/>
                </a:lnTo>
                <a:lnTo>
                  <a:pt x="1027" y="2085"/>
                </a:lnTo>
                <a:lnTo>
                  <a:pt x="1010" y="2088"/>
                </a:lnTo>
                <a:lnTo>
                  <a:pt x="1005" y="2085"/>
                </a:lnTo>
                <a:lnTo>
                  <a:pt x="996" y="2071"/>
                </a:lnTo>
                <a:lnTo>
                  <a:pt x="991" y="2069"/>
                </a:lnTo>
                <a:lnTo>
                  <a:pt x="991" y="2066"/>
                </a:lnTo>
                <a:lnTo>
                  <a:pt x="1008" y="2064"/>
                </a:lnTo>
                <a:lnTo>
                  <a:pt x="1015" y="2064"/>
                </a:lnTo>
                <a:lnTo>
                  <a:pt x="1017" y="2066"/>
                </a:lnTo>
                <a:lnTo>
                  <a:pt x="1017" y="2069"/>
                </a:lnTo>
                <a:moveTo>
                  <a:pt x="783" y="1865"/>
                </a:moveTo>
                <a:lnTo>
                  <a:pt x="783" y="1865"/>
                </a:lnTo>
                <a:lnTo>
                  <a:pt x="788" y="1872"/>
                </a:lnTo>
                <a:lnTo>
                  <a:pt x="781" y="1870"/>
                </a:lnTo>
                <a:lnTo>
                  <a:pt x="757" y="1867"/>
                </a:lnTo>
                <a:lnTo>
                  <a:pt x="754" y="1860"/>
                </a:lnTo>
                <a:lnTo>
                  <a:pt x="757" y="1856"/>
                </a:lnTo>
                <a:lnTo>
                  <a:pt x="762" y="1856"/>
                </a:lnTo>
                <a:lnTo>
                  <a:pt x="766" y="1856"/>
                </a:lnTo>
                <a:lnTo>
                  <a:pt x="778" y="1863"/>
                </a:lnTo>
                <a:lnTo>
                  <a:pt x="783" y="1865"/>
                </a:lnTo>
                <a:moveTo>
                  <a:pt x="814" y="1754"/>
                </a:moveTo>
                <a:lnTo>
                  <a:pt x="814" y="1754"/>
                </a:lnTo>
                <a:lnTo>
                  <a:pt x="823" y="1759"/>
                </a:lnTo>
                <a:lnTo>
                  <a:pt x="825" y="1761"/>
                </a:lnTo>
                <a:lnTo>
                  <a:pt x="828" y="1768"/>
                </a:lnTo>
                <a:lnTo>
                  <a:pt x="828" y="1775"/>
                </a:lnTo>
                <a:lnTo>
                  <a:pt x="825" y="1782"/>
                </a:lnTo>
                <a:lnTo>
                  <a:pt x="821" y="1780"/>
                </a:lnTo>
                <a:lnTo>
                  <a:pt x="818" y="1768"/>
                </a:lnTo>
                <a:lnTo>
                  <a:pt x="811" y="1759"/>
                </a:lnTo>
                <a:lnTo>
                  <a:pt x="804" y="1754"/>
                </a:lnTo>
                <a:lnTo>
                  <a:pt x="797" y="1759"/>
                </a:lnTo>
                <a:lnTo>
                  <a:pt x="792" y="1752"/>
                </a:lnTo>
                <a:lnTo>
                  <a:pt x="788" y="1735"/>
                </a:lnTo>
                <a:lnTo>
                  <a:pt x="783" y="1728"/>
                </a:lnTo>
                <a:lnTo>
                  <a:pt x="799" y="1728"/>
                </a:lnTo>
                <a:lnTo>
                  <a:pt x="804" y="1728"/>
                </a:lnTo>
                <a:lnTo>
                  <a:pt x="811" y="1733"/>
                </a:lnTo>
                <a:lnTo>
                  <a:pt x="811" y="1737"/>
                </a:lnTo>
                <a:lnTo>
                  <a:pt x="809" y="1742"/>
                </a:lnTo>
                <a:lnTo>
                  <a:pt x="809" y="1749"/>
                </a:lnTo>
                <a:lnTo>
                  <a:pt x="814" y="1754"/>
                </a:lnTo>
                <a:moveTo>
                  <a:pt x="549" y="1593"/>
                </a:moveTo>
                <a:lnTo>
                  <a:pt x="549" y="1593"/>
                </a:lnTo>
                <a:lnTo>
                  <a:pt x="553" y="1595"/>
                </a:lnTo>
                <a:lnTo>
                  <a:pt x="563" y="1595"/>
                </a:lnTo>
                <a:lnTo>
                  <a:pt x="565" y="1598"/>
                </a:lnTo>
                <a:lnTo>
                  <a:pt x="563" y="1605"/>
                </a:lnTo>
                <a:lnTo>
                  <a:pt x="556" y="1607"/>
                </a:lnTo>
                <a:lnTo>
                  <a:pt x="532" y="1605"/>
                </a:lnTo>
                <a:lnTo>
                  <a:pt x="518" y="1600"/>
                </a:lnTo>
                <a:lnTo>
                  <a:pt x="513" y="1595"/>
                </a:lnTo>
                <a:lnTo>
                  <a:pt x="513" y="1588"/>
                </a:lnTo>
                <a:lnTo>
                  <a:pt x="513" y="1581"/>
                </a:lnTo>
                <a:lnTo>
                  <a:pt x="508" y="1576"/>
                </a:lnTo>
                <a:lnTo>
                  <a:pt x="508" y="1569"/>
                </a:lnTo>
                <a:lnTo>
                  <a:pt x="511" y="1567"/>
                </a:lnTo>
                <a:lnTo>
                  <a:pt x="511" y="1565"/>
                </a:lnTo>
                <a:lnTo>
                  <a:pt x="513" y="1565"/>
                </a:lnTo>
                <a:lnTo>
                  <a:pt x="516" y="1567"/>
                </a:lnTo>
                <a:lnTo>
                  <a:pt x="520" y="1567"/>
                </a:lnTo>
                <a:lnTo>
                  <a:pt x="532" y="1574"/>
                </a:lnTo>
                <a:lnTo>
                  <a:pt x="539" y="1581"/>
                </a:lnTo>
                <a:lnTo>
                  <a:pt x="539" y="1581"/>
                </a:lnTo>
                <a:lnTo>
                  <a:pt x="549" y="1593"/>
                </a:lnTo>
                <a:moveTo>
                  <a:pt x="23" y="1077"/>
                </a:moveTo>
                <a:lnTo>
                  <a:pt x="23" y="1077"/>
                </a:lnTo>
                <a:lnTo>
                  <a:pt x="23" y="1079"/>
                </a:lnTo>
                <a:lnTo>
                  <a:pt x="26" y="1079"/>
                </a:lnTo>
                <a:lnTo>
                  <a:pt x="26" y="1082"/>
                </a:lnTo>
                <a:lnTo>
                  <a:pt x="12" y="1089"/>
                </a:lnTo>
                <a:lnTo>
                  <a:pt x="7" y="1089"/>
                </a:lnTo>
                <a:lnTo>
                  <a:pt x="7" y="1086"/>
                </a:lnTo>
                <a:lnTo>
                  <a:pt x="7" y="1086"/>
                </a:lnTo>
                <a:lnTo>
                  <a:pt x="9" y="1086"/>
                </a:lnTo>
                <a:lnTo>
                  <a:pt x="9" y="1086"/>
                </a:lnTo>
                <a:lnTo>
                  <a:pt x="9" y="1082"/>
                </a:lnTo>
                <a:lnTo>
                  <a:pt x="7" y="1082"/>
                </a:lnTo>
                <a:lnTo>
                  <a:pt x="0" y="1084"/>
                </a:lnTo>
                <a:lnTo>
                  <a:pt x="0" y="1079"/>
                </a:lnTo>
                <a:lnTo>
                  <a:pt x="12" y="1075"/>
                </a:lnTo>
                <a:lnTo>
                  <a:pt x="19" y="1072"/>
                </a:lnTo>
                <a:lnTo>
                  <a:pt x="23" y="1077"/>
                </a:lnTo>
                <a:lnTo>
                  <a:pt x="23" y="1077"/>
                </a:lnTo>
                <a:lnTo>
                  <a:pt x="23" y="1077"/>
                </a:lnTo>
                <a:moveTo>
                  <a:pt x="2132" y="10"/>
                </a:moveTo>
                <a:lnTo>
                  <a:pt x="2132" y="10"/>
                </a:lnTo>
                <a:lnTo>
                  <a:pt x="2136" y="26"/>
                </a:lnTo>
                <a:lnTo>
                  <a:pt x="2139" y="36"/>
                </a:lnTo>
                <a:lnTo>
                  <a:pt x="2148" y="45"/>
                </a:lnTo>
                <a:lnTo>
                  <a:pt x="2153" y="52"/>
                </a:lnTo>
                <a:lnTo>
                  <a:pt x="2153" y="59"/>
                </a:lnTo>
                <a:lnTo>
                  <a:pt x="2153" y="62"/>
                </a:lnTo>
                <a:lnTo>
                  <a:pt x="2146" y="69"/>
                </a:lnTo>
                <a:lnTo>
                  <a:pt x="2146" y="73"/>
                </a:lnTo>
                <a:lnTo>
                  <a:pt x="2150" y="92"/>
                </a:lnTo>
                <a:lnTo>
                  <a:pt x="2150" y="95"/>
                </a:lnTo>
                <a:lnTo>
                  <a:pt x="2148" y="99"/>
                </a:lnTo>
                <a:lnTo>
                  <a:pt x="2148" y="102"/>
                </a:lnTo>
                <a:lnTo>
                  <a:pt x="2150" y="102"/>
                </a:lnTo>
                <a:lnTo>
                  <a:pt x="2153" y="104"/>
                </a:lnTo>
                <a:lnTo>
                  <a:pt x="2155" y="107"/>
                </a:lnTo>
                <a:lnTo>
                  <a:pt x="2158" y="111"/>
                </a:lnTo>
                <a:lnTo>
                  <a:pt x="2158" y="114"/>
                </a:lnTo>
                <a:lnTo>
                  <a:pt x="2160" y="114"/>
                </a:lnTo>
                <a:lnTo>
                  <a:pt x="2165" y="114"/>
                </a:lnTo>
                <a:lnTo>
                  <a:pt x="2167" y="114"/>
                </a:lnTo>
                <a:lnTo>
                  <a:pt x="2172" y="114"/>
                </a:lnTo>
                <a:lnTo>
                  <a:pt x="2174" y="114"/>
                </a:lnTo>
                <a:lnTo>
                  <a:pt x="2176" y="116"/>
                </a:lnTo>
                <a:lnTo>
                  <a:pt x="2179" y="118"/>
                </a:lnTo>
                <a:lnTo>
                  <a:pt x="2179" y="121"/>
                </a:lnTo>
                <a:lnTo>
                  <a:pt x="2181" y="123"/>
                </a:lnTo>
                <a:lnTo>
                  <a:pt x="2193" y="133"/>
                </a:lnTo>
                <a:lnTo>
                  <a:pt x="2193" y="135"/>
                </a:lnTo>
                <a:lnTo>
                  <a:pt x="2198" y="144"/>
                </a:lnTo>
                <a:lnTo>
                  <a:pt x="2200" y="147"/>
                </a:lnTo>
                <a:lnTo>
                  <a:pt x="2205" y="152"/>
                </a:lnTo>
                <a:lnTo>
                  <a:pt x="2229" y="161"/>
                </a:lnTo>
                <a:lnTo>
                  <a:pt x="2231" y="161"/>
                </a:lnTo>
                <a:lnTo>
                  <a:pt x="2236" y="159"/>
                </a:lnTo>
                <a:lnTo>
                  <a:pt x="2243" y="144"/>
                </a:lnTo>
                <a:lnTo>
                  <a:pt x="2247" y="140"/>
                </a:lnTo>
                <a:lnTo>
                  <a:pt x="2255" y="135"/>
                </a:lnTo>
                <a:lnTo>
                  <a:pt x="2290" y="123"/>
                </a:lnTo>
                <a:lnTo>
                  <a:pt x="2297" y="123"/>
                </a:lnTo>
                <a:lnTo>
                  <a:pt x="2302" y="128"/>
                </a:lnTo>
                <a:lnTo>
                  <a:pt x="2309" y="142"/>
                </a:lnTo>
                <a:lnTo>
                  <a:pt x="2314" y="152"/>
                </a:lnTo>
                <a:lnTo>
                  <a:pt x="2316" y="154"/>
                </a:lnTo>
                <a:lnTo>
                  <a:pt x="2318" y="154"/>
                </a:lnTo>
                <a:lnTo>
                  <a:pt x="2323" y="154"/>
                </a:lnTo>
                <a:lnTo>
                  <a:pt x="2326" y="159"/>
                </a:lnTo>
                <a:lnTo>
                  <a:pt x="2328" y="168"/>
                </a:lnTo>
                <a:lnTo>
                  <a:pt x="2326" y="175"/>
                </a:lnTo>
                <a:lnTo>
                  <a:pt x="2328" y="187"/>
                </a:lnTo>
                <a:lnTo>
                  <a:pt x="2337" y="211"/>
                </a:lnTo>
                <a:lnTo>
                  <a:pt x="2337" y="225"/>
                </a:lnTo>
                <a:lnTo>
                  <a:pt x="2340" y="230"/>
                </a:lnTo>
                <a:lnTo>
                  <a:pt x="2344" y="234"/>
                </a:lnTo>
                <a:lnTo>
                  <a:pt x="2347" y="237"/>
                </a:lnTo>
                <a:lnTo>
                  <a:pt x="2359" y="244"/>
                </a:lnTo>
                <a:lnTo>
                  <a:pt x="2363" y="244"/>
                </a:lnTo>
                <a:lnTo>
                  <a:pt x="2370" y="244"/>
                </a:lnTo>
                <a:lnTo>
                  <a:pt x="2382" y="239"/>
                </a:lnTo>
                <a:lnTo>
                  <a:pt x="2387" y="237"/>
                </a:lnTo>
                <a:lnTo>
                  <a:pt x="2389" y="232"/>
                </a:lnTo>
                <a:lnTo>
                  <a:pt x="2392" y="232"/>
                </a:lnTo>
                <a:lnTo>
                  <a:pt x="2394" y="230"/>
                </a:lnTo>
                <a:lnTo>
                  <a:pt x="2399" y="232"/>
                </a:lnTo>
                <a:lnTo>
                  <a:pt x="2401" y="234"/>
                </a:lnTo>
                <a:lnTo>
                  <a:pt x="2401" y="237"/>
                </a:lnTo>
                <a:lnTo>
                  <a:pt x="2399" y="241"/>
                </a:lnTo>
                <a:lnTo>
                  <a:pt x="2401" y="244"/>
                </a:lnTo>
                <a:lnTo>
                  <a:pt x="2420" y="244"/>
                </a:lnTo>
                <a:lnTo>
                  <a:pt x="2425" y="244"/>
                </a:lnTo>
                <a:lnTo>
                  <a:pt x="2432" y="246"/>
                </a:lnTo>
                <a:lnTo>
                  <a:pt x="2437" y="253"/>
                </a:lnTo>
                <a:lnTo>
                  <a:pt x="2441" y="260"/>
                </a:lnTo>
                <a:lnTo>
                  <a:pt x="2444" y="277"/>
                </a:lnTo>
                <a:lnTo>
                  <a:pt x="2446" y="296"/>
                </a:lnTo>
                <a:lnTo>
                  <a:pt x="2449" y="312"/>
                </a:lnTo>
                <a:lnTo>
                  <a:pt x="2460" y="322"/>
                </a:lnTo>
                <a:lnTo>
                  <a:pt x="2460" y="320"/>
                </a:lnTo>
                <a:lnTo>
                  <a:pt x="2460" y="320"/>
                </a:lnTo>
                <a:lnTo>
                  <a:pt x="2460" y="320"/>
                </a:lnTo>
                <a:lnTo>
                  <a:pt x="2463" y="317"/>
                </a:lnTo>
                <a:lnTo>
                  <a:pt x="2463" y="317"/>
                </a:lnTo>
                <a:lnTo>
                  <a:pt x="2463" y="312"/>
                </a:lnTo>
                <a:lnTo>
                  <a:pt x="2468" y="305"/>
                </a:lnTo>
                <a:lnTo>
                  <a:pt x="2470" y="303"/>
                </a:lnTo>
                <a:lnTo>
                  <a:pt x="2475" y="301"/>
                </a:lnTo>
                <a:lnTo>
                  <a:pt x="2486" y="298"/>
                </a:lnTo>
                <a:lnTo>
                  <a:pt x="2498" y="301"/>
                </a:lnTo>
                <a:lnTo>
                  <a:pt x="2503" y="303"/>
                </a:lnTo>
                <a:lnTo>
                  <a:pt x="2508" y="305"/>
                </a:lnTo>
                <a:lnTo>
                  <a:pt x="2512" y="308"/>
                </a:lnTo>
                <a:lnTo>
                  <a:pt x="2520" y="308"/>
                </a:lnTo>
                <a:lnTo>
                  <a:pt x="2536" y="298"/>
                </a:lnTo>
                <a:lnTo>
                  <a:pt x="2541" y="298"/>
                </a:lnTo>
                <a:lnTo>
                  <a:pt x="2548" y="301"/>
                </a:lnTo>
                <a:lnTo>
                  <a:pt x="2557" y="310"/>
                </a:lnTo>
                <a:lnTo>
                  <a:pt x="2562" y="312"/>
                </a:lnTo>
                <a:lnTo>
                  <a:pt x="2569" y="317"/>
                </a:lnTo>
                <a:lnTo>
                  <a:pt x="2576" y="334"/>
                </a:lnTo>
                <a:lnTo>
                  <a:pt x="2581" y="336"/>
                </a:lnTo>
                <a:lnTo>
                  <a:pt x="2583" y="334"/>
                </a:lnTo>
                <a:lnTo>
                  <a:pt x="2583" y="331"/>
                </a:lnTo>
                <a:lnTo>
                  <a:pt x="2583" y="329"/>
                </a:lnTo>
                <a:lnTo>
                  <a:pt x="2586" y="327"/>
                </a:lnTo>
                <a:lnTo>
                  <a:pt x="2588" y="327"/>
                </a:lnTo>
                <a:lnTo>
                  <a:pt x="2593" y="329"/>
                </a:lnTo>
                <a:lnTo>
                  <a:pt x="2598" y="331"/>
                </a:lnTo>
                <a:lnTo>
                  <a:pt x="2598" y="334"/>
                </a:lnTo>
                <a:lnTo>
                  <a:pt x="2598" y="339"/>
                </a:lnTo>
                <a:lnTo>
                  <a:pt x="2595" y="343"/>
                </a:lnTo>
                <a:lnTo>
                  <a:pt x="2588" y="348"/>
                </a:lnTo>
                <a:lnTo>
                  <a:pt x="2586" y="353"/>
                </a:lnTo>
                <a:lnTo>
                  <a:pt x="2586" y="355"/>
                </a:lnTo>
                <a:lnTo>
                  <a:pt x="2583" y="365"/>
                </a:lnTo>
                <a:lnTo>
                  <a:pt x="2581" y="381"/>
                </a:lnTo>
                <a:lnTo>
                  <a:pt x="2581" y="388"/>
                </a:lnTo>
                <a:lnTo>
                  <a:pt x="2583" y="391"/>
                </a:lnTo>
                <a:lnTo>
                  <a:pt x="2591" y="388"/>
                </a:lnTo>
                <a:lnTo>
                  <a:pt x="2593" y="386"/>
                </a:lnTo>
                <a:lnTo>
                  <a:pt x="2595" y="388"/>
                </a:lnTo>
                <a:lnTo>
                  <a:pt x="2600" y="407"/>
                </a:lnTo>
                <a:lnTo>
                  <a:pt x="2602" y="410"/>
                </a:lnTo>
                <a:lnTo>
                  <a:pt x="2605" y="414"/>
                </a:lnTo>
                <a:lnTo>
                  <a:pt x="2605" y="417"/>
                </a:lnTo>
                <a:lnTo>
                  <a:pt x="2598" y="419"/>
                </a:lnTo>
                <a:lnTo>
                  <a:pt x="2593" y="424"/>
                </a:lnTo>
                <a:lnTo>
                  <a:pt x="2588" y="431"/>
                </a:lnTo>
                <a:lnTo>
                  <a:pt x="2586" y="433"/>
                </a:lnTo>
                <a:lnTo>
                  <a:pt x="2583" y="436"/>
                </a:lnTo>
                <a:lnTo>
                  <a:pt x="2583" y="440"/>
                </a:lnTo>
                <a:lnTo>
                  <a:pt x="2586" y="440"/>
                </a:lnTo>
                <a:lnTo>
                  <a:pt x="2586" y="447"/>
                </a:lnTo>
                <a:lnTo>
                  <a:pt x="2588" y="454"/>
                </a:lnTo>
                <a:lnTo>
                  <a:pt x="2586" y="454"/>
                </a:lnTo>
                <a:lnTo>
                  <a:pt x="2600" y="462"/>
                </a:lnTo>
                <a:lnTo>
                  <a:pt x="2605" y="462"/>
                </a:lnTo>
                <a:lnTo>
                  <a:pt x="2626" y="457"/>
                </a:lnTo>
                <a:lnTo>
                  <a:pt x="2669" y="466"/>
                </a:lnTo>
                <a:lnTo>
                  <a:pt x="2678" y="466"/>
                </a:lnTo>
                <a:lnTo>
                  <a:pt x="2714" y="445"/>
                </a:lnTo>
                <a:lnTo>
                  <a:pt x="2725" y="443"/>
                </a:lnTo>
                <a:lnTo>
                  <a:pt x="2728" y="440"/>
                </a:lnTo>
                <a:lnTo>
                  <a:pt x="2730" y="436"/>
                </a:lnTo>
                <a:lnTo>
                  <a:pt x="2732" y="428"/>
                </a:lnTo>
                <a:lnTo>
                  <a:pt x="2735" y="414"/>
                </a:lnTo>
                <a:lnTo>
                  <a:pt x="2732" y="412"/>
                </a:lnTo>
                <a:lnTo>
                  <a:pt x="2732" y="410"/>
                </a:lnTo>
                <a:lnTo>
                  <a:pt x="2730" y="407"/>
                </a:lnTo>
                <a:lnTo>
                  <a:pt x="2732" y="402"/>
                </a:lnTo>
                <a:lnTo>
                  <a:pt x="2732" y="400"/>
                </a:lnTo>
                <a:lnTo>
                  <a:pt x="2761" y="367"/>
                </a:lnTo>
                <a:lnTo>
                  <a:pt x="2768" y="365"/>
                </a:lnTo>
                <a:lnTo>
                  <a:pt x="2770" y="369"/>
                </a:lnTo>
                <a:lnTo>
                  <a:pt x="2773" y="372"/>
                </a:lnTo>
                <a:lnTo>
                  <a:pt x="2780" y="369"/>
                </a:lnTo>
                <a:lnTo>
                  <a:pt x="2785" y="372"/>
                </a:lnTo>
                <a:lnTo>
                  <a:pt x="2785" y="379"/>
                </a:lnTo>
                <a:lnTo>
                  <a:pt x="2782" y="388"/>
                </a:lnTo>
                <a:lnTo>
                  <a:pt x="2782" y="395"/>
                </a:lnTo>
                <a:lnTo>
                  <a:pt x="2780" y="393"/>
                </a:lnTo>
                <a:lnTo>
                  <a:pt x="2777" y="393"/>
                </a:lnTo>
                <a:lnTo>
                  <a:pt x="2773" y="405"/>
                </a:lnTo>
                <a:lnTo>
                  <a:pt x="2773" y="410"/>
                </a:lnTo>
                <a:lnTo>
                  <a:pt x="2775" y="412"/>
                </a:lnTo>
                <a:lnTo>
                  <a:pt x="2775" y="417"/>
                </a:lnTo>
                <a:lnTo>
                  <a:pt x="2766" y="445"/>
                </a:lnTo>
                <a:lnTo>
                  <a:pt x="2766" y="450"/>
                </a:lnTo>
                <a:lnTo>
                  <a:pt x="2768" y="457"/>
                </a:lnTo>
                <a:lnTo>
                  <a:pt x="2782" y="462"/>
                </a:lnTo>
                <a:lnTo>
                  <a:pt x="2787" y="469"/>
                </a:lnTo>
                <a:lnTo>
                  <a:pt x="2787" y="473"/>
                </a:lnTo>
                <a:lnTo>
                  <a:pt x="2787" y="478"/>
                </a:lnTo>
                <a:lnTo>
                  <a:pt x="2787" y="481"/>
                </a:lnTo>
                <a:lnTo>
                  <a:pt x="2785" y="488"/>
                </a:lnTo>
                <a:lnTo>
                  <a:pt x="2785" y="490"/>
                </a:lnTo>
                <a:lnTo>
                  <a:pt x="2782" y="492"/>
                </a:lnTo>
                <a:lnTo>
                  <a:pt x="2782" y="495"/>
                </a:lnTo>
                <a:lnTo>
                  <a:pt x="2782" y="497"/>
                </a:lnTo>
                <a:lnTo>
                  <a:pt x="2785" y="502"/>
                </a:lnTo>
                <a:lnTo>
                  <a:pt x="2787" y="504"/>
                </a:lnTo>
                <a:lnTo>
                  <a:pt x="2787" y="521"/>
                </a:lnTo>
                <a:lnTo>
                  <a:pt x="2789" y="523"/>
                </a:lnTo>
                <a:lnTo>
                  <a:pt x="2796" y="523"/>
                </a:lnTo>
                <a:lnTo>
                  <a:pt x="2803" y="521"/>
                </a:lnTo>
                <a:lnTo>
                  <a:pt x="2815" y="516"/>
                </a:lnTo>
                <a:lnTo>
                  <a:pt x="2820" y="516"/>
                </a:lnTo>
                <a:lnTo>
                  <a:pt x="2825" y="518"/>
                </a:lnTo>
                <a:lnTo>
                  <a:pt x="2837" y="528"/>
                </a:lnTo>
                <a:lnTo>
                  <a:pt x="2841" y="530"/>
                </a:lnTo>
                <a:lnTo>
                  <a:pt x="2853" y="533"/>
                </a:lnTo>
                <a:lnTo>
                  <a:pt x="2856" y="537"/>
                </a:lnTo>
                <a:lnTo>
                  <a:pt x="2867" y="552"/>
                </a:lnTo>
                <a:lnTo>
                  <a:pt x="2872" y="556"/>
                </a:lnTo>
                <a:lnTo>
                  <a:pt x="2877" y="559"/>
                </a:lnTo>
                <a:lnTo>
                  <a:pt x="2884" y="561"/>
                </a:lnTo>
                <a:lnTo>
                  <a:pt x="2896" y="556"/>
                </a:lnTo>
                <a:lnTo>
                  <a:pt x="2903" y="556"/>
                </a:lnTo>
                <a:lnTo>
                  <a:pt x="2908" y="561"/>
                </a:lnTo>
                <a:lnTo>
                  <a:pt x="2915" y="568"/>
                </a:lnTo>
                <a:lnTo>
                  <a:pt x="2917" y="575"/>
                </a:lnTo>
                <a:lnTo>
                  <a:pt x="2915" y="575"/>
                </a:lnTo>
                <a:lnTo>
                  <a:pt x="2915" y="578"/>
                </a:lnTo>
                <a:lnTo>
                  <a:pt x="2912" y="582"/>
                </a:lnTo>
                <a:lnTo>
                  <a:pt x="2915" y="587"/>
                </a:lnTo>
                <a:lnTo>
                  <a:pt x="2915" y="589"/>
                </a:lnTo>
                <a:lnTo>
                  <a:pt x="2919" y="589"/>
                </a:lnTo>
                <a:lnTo>
                  <a:pt x="2922" y="589"/>
                </a:lnTo>
                <a:lnTo>
                  <a:pt x="2924" y="587"/>
                </a:lnTo>
                <a:lnTo>
                  <a:pt x="2924" y="585"/>
                </a:lnTo>
                <a:lnTo>
                  <a:pt x="2927" y="582"/>
                </a:lnTo>
                <a:lnTo>
                  <a:pt x="2927" y="582"/>
                </a:lnTo>
                <a:lnTo>
                  <a:pt x="2931" y="585"/>
                </a:lnTo>
                <a:lnTo>
                  <a:pt x="2938" y="587"/>
                </a:lnTo>
                <a:lnTo>
                  <a:pt x="2945" y="592"/>
                </a:lnTo>
                <a:lnTo>
                  <a:pt x="2960" y="615"/>
                </a:lnTo>
                <a:lnTo>
                  <a:pt x="2962" y="618"/>
                </a:lnTo>
                <a:lnTo>
                  <a:pt x="2962" y="623"/>
                </a:lnTo>
                <a:lnTo>
                  <a:pt x="2960" y="627"/>
                </a:lnTo>
                <a:lnTo>
                  <a:pt x="2960" y="630"/>
                </a:lnTo>
                <a:lnTo>
                  <a:pt x="2962" y="634"/>
                </a:lnTo>
                <a:lnTo>
                  <a:pt x="2969" y="637"/>
                </a:lnTo>
                <a:lnTo>
                  <a:pt x="2976" y="632"/>
                </a:lnTo>
                <a:lnTo>
                  <a:pt x="2983" y="625"/>
                </a:lnTo>
                <a:lnTo>
                  <a:pt x="2988" y="623"/>
                </a:lnTo>
                <a:lnTo>
                  <a:pt x="2995" y="625"/>
                </a:lnTo>
                <a:lnTo>
                  <a:pt x="2997" y="627"/>
                </a:lnTo>
                <a:lnTo>
                  <a:pt x="3002" y="625"/>
                </a:lnTo>
                <a:lnTo>
                  <a:pt x="3002" y="623"/>
                </a:lnTo>
                <a:lnTo>
                  <a:pt x="3005" y="620"/>
                </a:lnTo>
                <a:lnTo>
                  <a:pt x="3007" y="615"/>
                </a:lnTo>
                <a:lnTo>
                  <a:pt x="3014" y="611"/>
                </a:lnTo>
                <a:lnTo>
                  <a:pt x="3019" y="613"/>
                </a:lnTo>
                <a:lnTo>
                  <a:pt x="3026" y="615"/>
                </a:lnTo>
                <a:lnTo>
                  <a:pt x="3033" y="615"/>
                </a:lnTo>
                <a:lnTo>
                  <a:pt x="3035" y="613"/>
                </a:lnTo>
                <a:lnTo>
                  <a:pt x="3038" y="608"/>
                </a:lnTo>
                <a:lnTo>
                  <a:pt x="3040" y="608"/>
                </a:lnTo>
                <a:lnTo>
                  <a:pt x="3045" y="608"/>
                </a:lnTo>
                <a:lnTo>
                  <a:pt x="3050" y="611"/>
                </a:lnTo>
                <a:lnTo>
                  <a:pt x="3054" y="611"/>
                </a:lnTo>
                <a:lnTo>
                  <a:pt x="3064" y="623"/>
                </a:lnTo>
                <a:lnTo>
                  <a:pt x="3068" y="627"/>
                </a:lnTo>
                <a:lnTo>
                  <a:pt x="3076" y="630"/>
                </a:lnTo>
                <a:lnTo>
                  <a:pt x="3095" y="632"/>
                </a:lnTo>
                <a:lnTo>
                  <a:pt x="3099" y="637"/>
                </a:lnTo>
                <a:lnTo>
                  <a:pt x="3104" y="649"/>
                </a:lnTo>
                <a:lnTo>
                  <a:pt x="3109" y="646"/>
                </a:lnTo>
                <a:lnTo>
                  <a:pt x="3132" y="644"/>
                </a:lnTo>
                <a:lnTo>
                  <a:pt x="3137" y="641"/>
                </a:lnTo>
                <a:lnTo>
                  <a:pt x="3139" y="637"/>
                </a:lnTo>
                <a:lnTo>
                  <a:pt x="3142" y="637"/>
                </a:lnTo>
                <a:lnTo>
                  <a:pt x="3142" y="634"/>
                </a:lnTo>
                <a:lnTo>
                  <a:pt x="3142" y="632"/>
                </a:lnTo>
                <a:lnTo>
                  <a:pt x="3144" y="630"/>
                </a:lnTo>
                <a:lnTo>
                  <a:pt x="3144" y="627"/>
                </a:lnTo>
                <a:lnTo>
                  <a:pt x="3154" y="627"/>
                </a:lnTo>
                <a:lnTo>
                  <a:pt x="3151" y="623"/>
                </a:lnTo>
                <a:lnTo>
                  <a:pt x="3165" y="620"/>
                </a:lnTo>
                <a:lnTo>
                  <a:pt x="3175" y="620"/>
                </a:lnTo>
                <a:lnTo>
                  <a:pt x="3182" y="623"/>
                </a:lnTo>
                <a:lnTo>
                  <a:pt x="3196" y="632"/>
                </a:lnTo>
                <a:lnTo>
                  <a:pt x="3203" y="634"/>
                </a:lnTo>
                <a:lnTo>
                  <a:pt x="3210" y="634"/>
                </a:lnTo>
                <a:lnTo>
                  <a:pt x="3213" y="634"/>
                </a:lnTo>
                <a:lnTo>
                  <a:pt x="3215" y="634"/>
                </a:lnTo>
                <a:lnTo>
                  <a:pt x="3220" y="630"/>
                </a:lnTo>
                <a:lnTo>
                  <a:pt x="3222" y="630"/>
                </a:lnTo>
                <a:lnTo>
                  <a:pt x="3225" y="630"/>
                </a:lnTo>
                <a:lnTo>
                  <a:pt x="3251" y="639"/>
                </a:lnTo>
                <a:lnTo>
                  <a:pt x="3258" y="644"/>
                </a:lnTo>
                <a:lnTo>
                  <a:pt x="3258" y="649"/>
                </a:lnTo>
                <a:lnTo>
                  <a:pt x="3260" y="651"/>
                </a:lnTo>
                <a:lnTo>
                  <a:pt x="3260" y="653"/>
                </a:lnTo>
                <a:lnTo>
                  <a:pt x="3260" y="653"/>
                </a:lnTo>
                <a:lnTo>
                  <a:pt x="3262" y="656"/>
                </a:lnTo>
                <a:lnTo>
                  <a:pt x="3277" y="670"/>
                </a:lnTo>
                <a:lnTo>
                  <a:pt x="3277" y="672"/>
                </a:lnTo>
                <a:lnTo>
                  <a:pt x="3277" y="675"/>
                </a:lnTo>
                <a:lnTo>
                  <a:pt x="3272" y="677"/>
                </a:lnTo>
                <a:lnTo>
                  <a:pt x="3270" y="679"/>
                </a:lnTo>
                <a:lnTo>
                  <a:pt x="3272" y="684"/>
                </a:lnTo>
                <a:lnTo>
                  <a:pt x="3277" y="691"/>
                </a:lnTo>
                <a:lnTo>
                  <a:pt x="3298" y="708"/>
                </a:lnTo>
                <a:lnTo>
                  <a:pt x="3298" y="708"/>
                </a:lnTo>
                <a:lnTo>
                  <a:pt x="3298" y="712"/>
                </a:lnTo>
                <a:lnTo>
                  <a:pt x="3298" y="715"/>
                </a:lnTo>
                <a:lnTo>
                  <a:pt x="3300" y="715"/>
                </a:lnTo>
                <a:lnTo>
                  <a:pt x="3305" y="717"/>
                </a:lnTo>
                <a:lnTo>
                  <a:pt x="3305" y="717"/>
                </a:lnTo>
                <a:lnTo>
                  <a:pt x="3307" y="724"/>
                </a:lnTo>
                <a:lnTo>
                  <a:pt x="3310" y="727"/>
                </a:lnTo>
                <a:lnTo>
                  <a:pt x="3310" y="729"/>
                </a:lnTo>
                <a:lnTo>
                  <a:pt x="3310" y="731"/>
                </a:lnTo>
                <a:lnTo>
                  <a:pt x="3312" y="734"/>
                </a:lnTo>
                <a:lnTo>
                  <a:pt x="3312" y="731"/>
                </a:lnTo>
                <a:lnTo>
                  <a:pt x="3317" y="729"/>
                </a:lnTo>
                <a:lnTo>
                  <a:pt x="3317" y="729"/>
                </a:lnTo>
                <a:lnTo>
                  <a:pt x="3319" y="736"/>
                </a:lnTo>
                <a:lnTo>
                  <a:pt x="3319" y="741"/>
                </a:lnTo>
                <a:lnTo>
                  <a:pt x="3319" y="748"/>
                </a:lnTo>
                <a:lnTo>
                  <a:pt x="3322" y="753"/>
                </a:lnTo>
                <a:lnTo>
                  <a:pt x="3326" y="753"/>
                </a:lnTo>
                <a:lnTo>
                  <a:pt x="3338" y="753"/>
                </a:lnTo>
                <a:lnTo>
                  <a:pt x="3350" y="755"/>
                </a:lnTo>
                <a:lnTo>
                  <a:pt x="3352" y="755"/>
                </a:lnTo>
                <a:lnTo>
                  <a:pt x="3357" y="748"/>
                </a:lnTo>
                <a:lnTo>
                  <a:pt x="3355" y="741"/>
                </a:lnTo>
                <a:lnTo>
                  <a:pt x="3352" y="734"/>
                </a:lnTo>
                <a:lnTo>
                  <a:pt x="3355" y="729"/>
                </a:lnTo>
                <a:lnTo>
                  <a:pt x="3357" y="727"/>
                </a:lnTo>
                <a:lnTo>
                  <a:pt x="3369" y="729"/>
                </a:lnTo>
                <a:lnTo>
                  <a:pt x="3376" y="727"/>
                </a:lnTo>
                <a:lnTo>
                  <a:pt x="3378" y="727"/>
                </a:lnTo>
                <a:lnTo>
                  <a:pt x="3397" y="736"/>
                </a:lnTo>
                <a:lnTo>
                  <a:pt x="3404" y="736"/>
                </a:lnTo>
                <a:lnTo>
                  <a:pt x="3404" y="750"/>
                </a:lnTo>
                <a:lnTo>
                  <a:pt x="3409" y="762"/>
                </a:lnTo>
                <a:lnTo>
                  <a:pt x="3416" y="767"/>
                </a:lnTo>
                <a:lnTo>
                  <a:pt x="3423" y="760"/>
                </a:lnTo>
                <a:lnTo>
                  <a:pt x="3423" y="757"/>
                </a:lnTo>
                <a:lnTo>
                  <a:pt x="3423" y="755"/>
                </a:lnTo>
                <a:lnTo>
                  <a:pt x="3423" y="753"/>
                </a:lnTo>
                <a:lnTo>
                  <a:pt x="3426" y="750"/>
                </a:lnTo>
                <a:lnTo>
                  <a:pt x="3426" y="750"/>
                </a:lnTo>
                <a:lnTo>
                  <a:pt x="3438" y="757"/>
                </a:lnTo>
                <a:lnTo>
                  <a:pt x="3442" y="760"/>
                </a:lnTo>
                <a:lnTo>
                  <a:pt x="3447" y="760"/>
                </a:lnTo>
                <a:lnTo>
                  <a:pt x="3471" y="760"/>
                </a:lnTo>
                <a:lnTo>
                  <a:pt x="3478" y="762"/>
                </a:lnTo>
                <a:lnTo>
                  <a:pt x="3480" y="762"/>
                </a:lnTo>
                <a:lnTo>
                  <a:pt x="3483" y="760"/>
                </a:lnTo>
                <a:lnTo>
                  <a:pt x="3485" y="755"/>
                </a:lnTo>
                <a:lnTo>
                  <a:pt x="3485" y="753"/>
                </a:lnTo>
                <a:lnTo>
                  <a:pt x="3487" y="750"/>
                </a:lnTo>
                <a:lnTo>
                  <a:pt x="3494" y="750"/>
                </a:lnTo>
                <a:lnTo>
                  <a:pt x="3497" y="748"/>
                </a:lnTo>
                <a:lnTo>
                  <a:pt x="3497" y="746"/>
                </a:lnTo>
                <a:lnTo>
                  <a:pt x="3499" y="739"/>
                </a:lnTo>
                <a:lnTo>
                  <a:pt x="3499" y="736"/>
                </a:lnTo>
                <a:lnTo>
                  <a:pt x="3504" y="734"/>
                </a:lnTo>
                <a:lnTo>
                  <a:pt x="3511" y="731"/>
                </a:lnTo>
                <a:lnTo>
                  <a:pt x="3516" y="731"/>
                </a:lnTo>
                <a:lnTo>
                  <a:pt x="3518" y="736"/>
                </a:lnTo>
                <a:lnTo>
                  <a:pt x="3530" y="736"/>
                </a:lnTo>
                <a:lnTo>
                  <a:pt x="3535" y="736"/>
                </a:lnTo>
                <a:lnTo>
                  <a:pt x="3537" y="743"/>
                </a:lnTo>
                <a:lnTo>
                  <a:pt x="3535" y="746"/>
                </a:lnTo>
                <a:lnTo>
                  <a:pt x="3535" y="746"/>
                </a:lnTo>
                <a:lnTo>
                  <a:pt x="3535" y="748"/>
                </a:lnTo>
                <a:lnTo>
                  <a:pt x="3539" y="750"/>
                </a:lnTo>
                <a:lnTo>
                  <a:pt x="3546" y="760"/>
                </a:lnTo>
                <a:lnTo>
                  <a:pt x="3549" y="765"/>
                </a:lnTo>
                <a:lnTo>
                  <a:pt x="3556" y="767"/>
                </a:lnTo>
                <a:lnTo>
                  <a:pt x="3568" y="769"/>
                </a:lnTo>
                <a:lnTo>
                  <a:pt x="3575" y="772"/>
                </a:lnTo>
                <a:lnTo>
                  <a:pt x="3577" y="774"/>
                </a:lnTo>
                <a:lnTo>
                  <a:pt x="3580" y="779"/>
                </a:lnTo>
                <a:lnTo>
                  <a:pt x="3584" y="781"/>
                </a:lnTo>
                <a:lnTo>
                  <a:pt x="3587" y="781"/>
                </a:lnTo>
                <a:lnTo>
                  <a:pt x="3591" y="781"/>
                </a:lnTo>
                <a:lnTo>
                  <a:pt x="3594" y="779"/>
                </a:lnTo>
                <a:lnTo>
                  <a:pt x="3596" y="779"/>
                </a:lnTo>
                <a:lnTo>
                  <a:pt x="3601" y="779"/>
                </a:lnTo>
                <a:lnTo>
                  <a:pt x="3606" y="779"/>
                </a:lnTo>
                <a:lnTo>
                  <a:pt x="3608" y="779"/>
                </a:lnTo>
                <a:lnTo>
                  <a:pt x="3613" y="779"/>
                </a:lnTo>
                <a:lnTo>
                  <a:pt x="3617" y="774"/>
                </a:lnTo>
                <a:lnTo>
                  <a:pt x="3622" y="774"/>
                </a:lnTo>
                <a:lnTo>
                  <a:pt x="3646" y="779"/>
                </a:lnTo>
                <a:lnTo>
                  <a:pt x="3660" y="774"/>
                </a:lnTo>
                <a:lnTo>
                  <a:pt x="3665" y="774"/>
                </a:lnTo>
                <a:lnTo>
                  <a:pt x="3712" y="793"/>
                </a:lnTo>
                <a:lnTo>
                  <a:pt x="3740" y="798"/>
                </a:lnTo>
                <a:lnTo>
                  <a:pt x="3743" y="800"/>
                </a:lnTo>
                <a:lnTo>
                  <a:pt x="3738" y="807"/>
                </a:lnTo>
                <a:lnTo>
                  <a:pt x="3731" y="824"/>
                </a:lnTo>
                <a:lnTo>
                  <a:pt x="3724" y="862"/>
                </a:lnTo>
                <a:lnTo>
                  <a:pt x="3719" y="866"/>
                </a:lnTo>
                <a:lnTo>
                  <a:pt x="3719" y="869"/>
                </a:lnTo>
                <a:lnTo>
                  <a:pt x="3710" y="876"/>
                </a:lnTo>
                <a:lnTo>
                  <a:pt x="3707" y="876"/>
                </a:lnTo>
                <a:lnTo>
                  <a:pt x="3705" y="876"/>
                </a:lnTo>
                <a:lnTo>
                  <a:pt x="3705" y="878"/>
                </a:lnTo>
                <a:lnTo>
                  <a:pt x="3703" y="881"/>
                </a:lnTo>
                <a:lnTo>
                  <a:pt x="3703" y="885"/>
                </a:lnTo>
                <a:lnTo>
                  <a:pt x="3703" y="888"/>
                </a:lnTo>
                <a:lnTo>
                  <a:pt x="3703" y="888"/>
                </a:lnTo>
                <a:lnTo>
                  <a:pt x="3700" y="890"/>
                </a:lnTo>
                <a:lnTo>
                  <a:pt x="3691" y="890"/>
                </a:lnTo>
                <a:lnTo>
                  <a:pt x="3688" y="892"/>
                </a:lnTo>
                <a:lnTo>
                  <a:pt x="3688" y="895"/>
                </a:lnTo>
                <a:lnTo>
                  <a:pt x="3688" y="904"/>
                </a:lnTo>
                <a:lnTo>
                  <a:pt x="3688" y="907"/>
                </a:lnTo>
                <a:lnTo>
                  <a:pt x="3684" y="911"/>
                </a:lnTo>
                <a:lnTo>
                  <a:pt x="3681" y="916"/>
                </a:lnTo>
                <a:lnTo>
                  <a:pt x="3679" y="918"/>
                </a:lnTo>
                <a:lnTo>
                  <a:pt x="3672" y="928"/>
                </a:lnTo>
                <a:lnTo>
                  <a:pt x="3667" y="933"/>
                </a:lnTo>
                <a:lnTo>
                  <a:pt x="3662" y="933"/>
                </a:lnTo>
                <a:lnTo>
                  <a:pt x="3660" y="937"/>
                </a:lnTo>
                <a:lnTo>
                  <a:pt x="3651" y="956"/>
                </a:lnTo>
                <a:lnTo>
                  <a:pt x="3651" y="970"/>
                </a:lnTo>
                <a:lnTo>
                  <a:pt x="3651" y="985"/>
                </a:lnTo>
                <a:lnTo>
                  <a:pt x="3655" y="994"/>
                </a:lnTo>
                <a:lnTo>
                  <a:pt x="3655" y="996"/>
                </a:lnTo>
                <a:lnTo>
                  <a:pt x="3648" y="1004"/>
                </a:lnTo>
                <a:lnTo>
                  <a:pt x="3646" y="1006"/>
                </a:lnTo>
                <a:lnTo>
                  <a:pt x="3646" y="1011"/>
                </a:lnTo>
                <a:lnTo>
                  <a:pt x="3646" y="1018"/>
                </a:lnTo>
                <a:lnTo>
                  <a:pt x="3643" y="1023"/>
                </a:lnTo>
                <a:lnTo>
                  <a:pt x="3643" y="1025"/>
                </a:lnTo>
                <a:lnTo>
                  <a:pt x="3641" y="1030"/>
                </a:lnTo>
                <a:lnTo>
                  <a:pt x="3641" y="1034"/>
                </a:lnTo>
                <a:lnTo>
                  <a:pt x="3639" y="1046"/>
                </a:lnTo>
                <a:lnTo>
                  <a:pt x="3639" y="1051"/>
                </a:lnTo>
                <a:lnTo>
                  <a:pt x="3641" y="1058"/>
                </a:lnTo>
                <a:lnTo>
                  <a:pt x="3643" y="1063"/>
                </a:lnTo>
                <a:lnTo>
                  <a:pt x="3646" y="1067"/>
                </a:lnTo>
                <a:lnTo>
                  <a:pt x="3646" y="1075"/>
                </a:lnTo>
                <a:lnTo>
                  <a:pt x="3641" y="1079"/>
                </a:lnTo>
                <a:lnTo>
                  <a:pt x="3636" y="1084"/>
                </a:lnTo>
                <a:lnTo>
                  <a:pt x="3634" y="1089"/>
                </a:lnTo>
                <a:lnTo>
                  <a:pt x="3632" y="1096"/>
                </a:lnTo>
                <a:lnTo>
                  <a:pt x="3632" y="1105"/>
                </a:lnTo>
                <a:lnTo>
                  <a:pt x="3632" y="1112"/>
                </a:lnTo>
                <a:lnTo>
                  <a:pt x="3629" y="1120"/>
                </a:lnTo>
                <a:lnTo>
                  <a:pt x="3613" y="1146"/>
                </a:lnTo>
                <a:lnTo>
                  <a:pt x="3613" y="1153"/>
                </a:lnTo>
                <a:lnTo>
                  <a:pt x="3613" y="1157"/>
                </a:lnTo>
                <a:lnTo>
                  <a:pt x="3610" y="1162"/>
                </a:lnTo>
                <a:lnTo>
                  <a:pt x="3610" y="1165"/>
                </a:lnTo>
                <a:lnTo>
                  <a:pt x="3608" y="1169"/>
                </a:lnTo>
                <a:lnTo>
                  <a:pt x="3606" y="1174"/>
                </a:lnTo>
                <a:lnTo>
                  <a:pt x="3606" y="1183"/>
                </a:lnTo>
                <a:lnTo>
                  <a:pt x="3608" y="1200"/>
                </a:lnTo>
                <a:lnTo>
                  <a:pt x="3622" y="1221"/>
                </a:lnTo>
                <a:lnTo>
                  <a:pt x="3624" y="1236"/>
                </a:lnTo>
                <a:lnTo>
                  <a:pt x="3622" y="1240"/>
                </a:lnTo>
                <a:lnTo>
                  <a:pt x="3615" y="1250"/>
                </a:lnTo>
                <a:lnTo>
                  <a:pt x="3615" y="1254"/>
                </a:lnTo>
                <a:lnTo>
                  <a:pt x="3615" y="1262"/>
                </a:lnTo>
                <a:lnTo>
                  <a:pt x="3615" y="1264"/>
                </a:lnTo>
                <a:lnTo>
                  <a:pt x="3615" y="1269"/>
                </a:lnTo>
                <a:lnTo>
                  <a:pt x="3613" y="1269"/>
                </a:lnTo>
                <a:lnTo>
                  <a:pt x="3610" y="1271"/>
                </a:lnTo>
                <a:lnTo>
                  <a:pt x="3610" y="1273"/>
                </a:lnTo>
                <a:lnTo>
                  <a:pt x="3610" y="1276"/>
                </a:lnTo>
                <a:lnTo>
                  <a:pt x="3610" y="1276"/>
                </a:lnTo>
                <a:lnTo>
                  <a:pt x="3610" y="1278"/>
                </a:lnTo>
                <a:lnTo>
                  <a:pt x="3610" y="1281"/>
                </a:lnTo>
                <a:lnTo>
                  <a:pt x="3613" y="1288"/>
                </a:lnTo>
                <a:lnTo>
                  <a:pt x="3613" y="1292"/>
                </a:lnTo>
                <a:lnTo>
                  <a:pt x="3610" y="1295"/>
                </a:lnTo>
                <a:lnTo>
                  <a:pt x="3608" y="1297"/>
                </a:lnTo>
                <a:lnTo>
                  <a:pt x="3606" y="1311"/>
                </a:lnTo>
                <a:lnTo>
                  <a:pt x="3606" y="1316"/>
                </a:lnTo>
                <a:lnTo>
                  <a:pt x="3610" y="1333"/>
                </a:lnTo>
                <a:lnTo>
                  <a:pt x="3610" y="1337"/>
                </a:lnTo>
                <a:lnTo>
                  <a:pt x="3610" y="1342"/>
                </a:lnTo>
                <a:lnTo>
                  <a:pt x="3606" y="1347"/>
                </a:lnTo>
                <a:lnTo>
                  <a:pt x="3606" y="1349"/>
                </a:lnTo>
                <a:lnTo>
                  <a:pt x="3606" y="1359"/>
                </a:lnTo>
                <a:lnTo>
                  <a:pt x="3608" y="1363"/>
                </a:lnTo>
                <a:lnTo>
                  <a:pt x="3608" y="1366"/>
                </a:lnTo>
                <a:lnTo>
                  <a:pt x="3613" y="1366"/>
                </a:lnTo>
                <a:lnTo>
                  <a:pt x="3617" y="1373"/>
                </a:lnTo>
                <a:lnTo>
                  <a:pt x="3624" y="1385"/>
                </a:lnTo>
                <a:lnTo>
                  <a:pt x="3627" y="1387"/>
                </a:lnTo>
                <a:lnTo>
                  <a:pt x="3629" y="1387"/>
                </a:lnTo>
                <a:lnTo>
                  <a:pt x="3632" y="1389"/>
                </a:lnTo>
                <a:lnTo>
                  <a:pt x="3632" y="1394"/>
                </a:lnTo>
                <a:lnTo>
                  <a:pt x="3632" y="1394"/>
                </a:lnTo>
                <a:lnTo>
                  <a:pt x="3632" y="1399"/>
                </a:lnTo>
                <a:lnTo>
                  <a:pt x="3629" y="1399"/>
                </a:lnTo>
                <a:lnTo>
                  <a:pt x="3632" y="1399"/>
                </a:lnTo>
                <a:lnTo>
                  <a:pt x="3622" y="1404"/>
                </a:lnTo>
                <a:lnTo>
                  <a:pt x="3615" y="1408"/>
                </a:lnTo>
                <a:lnTo>
                  <a:pt x="3603" y="1420"/>
                </a:lnTo>
                <a:lnTo>
                  <a:pt x="3603" y="1420"/>
                </a:lnTo>
                <a:lnTo>
                  <a:pt x="3608" y="1425"/>
                </a:lnTo>
                <a:lnTo>
                  <a:pt x="3610" y="1425"/>
                </a:lnTo>
                <a:lnTo>
                  <a:pt x="3610" y="1427"/>
                </a:lnTo>
                <a:lnTo>
                  <a:pt x="3610" y="1430"/>
                </a:lnTo>
                <a:lnTo>
                  <a:pt x="3608" y="1432"/>
                </a:lnTo>
                <a:lnTo>
                  <a:pt x="3603" y="1432"/>
                </a:lnTo>
                <a:lnTo>
                  <a:pt x="3603" y="1432"/>
                </a:lnTo>
                <a:lnTo>
                  <a:pt x="3603" y="1434"/>
                </a:lnTo>
                <a:lnTo>
                  <a:pt x="3603" y="1434"/>
                </a:lnTo>
                <a:lnTo>
                  <a:pt x="3606" y="1439"/>
                </a:lnTo>
                <a:lnTo>
                  <a:pt x="3606" y="1439"/>
                </a:lnTo>
                <a:lnTo>
                  <a:pt x="3606" y="1439"/>
                </a:lnTo>
                <a:lnTo>
                  <a:pt x="3606" y="1441"/>
                </a:lnTo>
                <a:lnTo>
                  <a:pt x="3606" y="1441"/>
                </a:lnTo>
                <a:lnTo>
                  <a:pt x="3601" y="1446"/>
                </a:lnTo>
                <a:lnTo>
                  <a:pt x="3598" y="1446"/>
                </a:lnTo>
                <a:lnTo>
                  <a:pt x="3594" y="1444"/>
                </a:lnTo>
                <a:lnTo>
                  <a:pt x="3589" y="1444"/>
                </a:lnTo>
                <a:lnTo>
                  <a:pt x="3587" y="1444"/>
                </a:lnTo>
                <a:lnTo>
                  <a:pt x="3587" y="1446"/>
                </a:lnTo>
                <a:lnTo>
                  <a:pt x="3587" y="1449"/>
                </a:lnTo>
                <a:lnTo>
                  <a:pt x="3589" y="1451"/>
                </a:lnTo>
                <a:lnTo>
                  <a:pt x="3589" y="1453"/>
                </a:lnTo>
                <a:lnTo>
                  <a:pt x="3591" y="1456"/>
                </a:lnTo>
                <a:lnTo>
                  <a:pt x="3591" y="1458"/>
                </a:lnTo>
                <a:lnTo>
                  <a:pt x="3584" y="1467"/>
                </a:lnTo>
                <a:lnTo>
                  <a:pt x="3577" y="1470"/>
                </a:lnTo>
                <a:lnTo>
                  <a:pt x="3558" y="1472"/>
                </a:lnTo>
                <a:lnTo>
                  <a:pt x="3551" y="1475"/>
                </a:lnTo>
                <a:lnTo>
                  <a:pt x="3539" y="1479"/>
                </a:lnTo>
                <a:lnTo>
                  <a:pt x="3537" y="1479"/>
                </a:lnTo>
                <a:lnTo>
                  <a:pt x="3535" y="1479"/>
                </a:lnTo>
                <a:lnTo>
                  <a:pt x="3535" y="1477"/>
                </a:lnTo>
                <a:lnTo>
                  <a:pt x="3535" y="1477"/>
                </a:lnTo>
                <a:lnTo>
                  <a:pt x="3532" y="1475"/>
                </a:lnTo>
                <a:lnTo>
                  <a:pt x="3523" y="1475"/>
                </a:lnTo>
                <a:lnTo>
                  <a:pt x="3518" y="1470"/>
                </a:lnTo>
                <a:lnTo>
                  <a:pt x="3516" y="1463"/>
                </a:lnTo>
                <a:lnTo>
                  <a:pt x="3518" y="1451"/>
                </a:lnTo>
                <a:lnTo>
                  <a:pt x="3511" y="1453"/>
                </a:lnTo>
                <a:lnTo>
                  <a:pt x="3506" y="1453"/>
                </a:lnTo>
                <a:lnTo>
                  <a:pt x="3504" y="1451"/>
                </a:lnTo>
                <a:lnTo>
                  <a:pt x="3497" y="1451"/>
                </a:lnTo>
                <a:lnTo>
                  <a:pt x="3483" y="1453"/>
                </a:lnTo>
                <a:lnTo>
                  <a:pt x="3475" y="1453"/>
                </a:lnTo>
                <a:lnTo>
                  <a:pt x="3473" y="1451"/>
                </a:lnTo>
                <a:lnTo>
                  <a:pt x="3468" y="1451"/>
                </a:lnTo>
                <a:lnTo>
                  <a:pt x="3466" y="1451"/>
                </a:lnTo>
                <a:lnTo>
                  <a:pt x="3464" y="1453"/>
                </a:lnTo>
                <a:lnTo>
                  <a:pt x="3459" y="1456"/>
                </a:lnTo>
                <a:lnTo>
                  <a:pt x="3461" y="1460"/>
                </a:lnTo>
                <a:lnTo>
                  <a:pt x="3464" y="1467"/>
                </a:lnTo>
                <a:lnTo>
                  <a:pt x="3466" y="1472"/>
                </a:lnTo>
                <a:lnTo>
                  <a:pt x="3464" y="1475"/>
                </a:lnTo>
                <a:lnTo>
                  <a:pt x="3459" y="1479"/>
                </a:lnTo>
                <a:lnTo>
                  <a:pt x="3457" y="1482"/>
                </a:lnTo>
                <a:lnTo>
                  <a:pt x="3447" y="1484"/>
                </a:lnTo>
                <a:lnTo>
                  <a:pt x="3449" y="1494"/>
                </a:lnTo>
                <a:lnTo>
                  <a:pt x="3442" y="1498"/>
                </a:lnTo>
                <a:lnTo>
                  <a:pt x="3438" y="1503"/>
                </a:lnTo>
                <a:lnTo>
                  <a:pt x="3435" y="1510"/>
                </a:lnTo>
                <a:lnTo>
                  <a:pt x="3433" y="1517"/>
                </a:lnTo>
                <a:lnTo>
                  <a:pt x="3468" y="1510"/>
                </a:lnTo>
                <a:lnTo>
                  <a:pt x="3473" y="1508"/>
                </a:lnTo>
                <a:lnTo>
                  <a:pt x="3478" y="1510"/>
                </a:lnTo>
                <a:lnTo>
                  <a:pt x="3483" y="1512"/>
                </a:lnTo>
                <a:lnTo>
                  <a:pt x="3485" y="1517"/>
                </a:lnTo>
                <a:lnTo>
                  <a:pt x="3483" y="1522"/>
                </a:lnTo>
                <a:lnTo>
                  <a:pt x="3480" y="1524"/>
                </a:lnTo>
                <a:lnTo>
                  <a:pt x="3478" y="1527"/>
                </a:lnTo>
                <a:lnTo>
                  <a:pt x="3475" y="1527"/>
                </a:lnTo>
                <a:lnTo>
                  <a:pt x="3471" y="1534"/>
                </a:lnTo>
                <a:lnTo>
                  <a:pt x="3471" y="1534"/>
                </a:lnTo>
                <a:lnTo>
                  <a:pt x="3468" y="1534"/>
                </a:lnTo>
                <a:lnTo>
                  <a:pt x="3464" y="1541"/>
                </a:lnTo>
                <a:lnTo>
                  <a:pt x="3461" y="1550"/>
                </a:lnTo>
                <a:lnTo>
                  <a:pt x="3464" y="1560"/>
                </a:lnTo>
                <a:lnTo>
                  <a:pt x="3445" y="1576"/>
                </a:lnTo>
                <a:lnTo>
                  <a:pt x="3438" y="1586"/>
                </a:lnTo>
                <a:lnTo>
                  <a:pt x="3433" y="1595"/>
                </a:lnTo>
                <a:lnTo>
                  <a:pt x="3416" y="1614"/>
                </a:lnTo>
                <a:lnTo>
                  <a:pt x="3407" y="1619"/>
                </a:lnTo>
                <a:lnTo>
                  <a:pt x="3409" y="1626"/>
                </a:lnTo>
                <a:lnTo>
                  <a:pt x="3404" y="1628"/>
                </a:lnTo>
                <a:lnTo>
                  <a:pt x="3404" y="1628"/>
                </a:lnTo>
                <a:lnTo>
                  <a:pt x="3402" y="1631"/>
                </a:lnTo>
                <a:lnTo>
                  <a:pt x="3395" y="1636"/>
                </a:lnTo>
                <a:lnTo>
                  <a:pt x="3393" y="1638"/>
                </a:lnTo>
                <a:lnTo>
                  <a:pt x="3390" y="1645"/>
                </a:lnTo>
                <a:lnTo>
                  <a:pt x="3395" y="1652"/>
                </a:lnTo>
                <a:lnTo>
                  <a:pt x="3388" y="1662"/>
                </a:lnTo>
                <a:lnTo>
                  <a:pt x="3369" y="1678"/>
                </a:lnTo>
                <a:lnTo>
                  <a:pt x="3341" y="1692"/>
                </a:lnTo>
                <a:lnTo>
                  <a:pt x="3326" y="1702"/>
                </a:lnTo>
                <a:lnTo>
                  <a:pt x="3324" y="1716"/>
                </a:lnTo>
                <a:lnTo>
                  <a:pt x="3324" y="1721"/>
                </a:lnTo>
                <a:lnTo>
                  <a:pt x="3329" y="1728"/>
                </a:lnTo>
                <a:lnTo>
                  <a:pt x="3331" y="1733"/>
                </a:lnTo>
                <a:lnTo>
                  <a:pt x="3331" y="1737"/>
                </a:lnTo>
                <a:lnTo>
                  <a:pt x="3329" y="1742"/>
                </a:lnTo>
                <a:lnTo>
                  <a:pt x="3326" y="1744"/>
                </a:lnTo>
                <a:lnTo>
                  <a:pt x="3324" y="1759"/>
                </a:lnTo>
                <a:lnTo>
                  <a:pt x="3324" y="1761"/>
                </a:lnTo>
                <a:lnTo>
                  <a:pt x="3324" y="1763"/>
                </a:lnTo>
                <a:lnTo>
                  <a:pt x="3326" y="1766"/>
                </a:lnTo>
                <a:lnTo>
                  <a:pt x="3329" y="1768"/>
                </a:lnTo>
                <a:lnTo>
                  <a:pt x="3329" y="1775"/>
                </a:lnTo>
                <a:lnTo>
                  <a:pt x="3329" y="1780"/>
                </a:lnTo>
                <a:lnTo>
                  <a:pt x="3326" y="1785"/>
                </a:lnTo>
                <a:lnTo>
                  <a:pt x="3324" y="1787"/>
                </a:lnTo>
                <a:lnTo>
                  <a:pt x="3315" y="1792"/>
                </a:lnTo>
                <a:lnTo>
                  <a:pt x="3307" y="1801"/>
                </a:lnTo>
                <a:lnTo>
                  <a:pt x="3305" y="1804"/>
                </a:lnTo>
                <a:lnTo>
                  <a:pt x="3284" y="1818"/>
                </a:lnTo>
                <a:lnTo>
                  <a:pt x="3248" y="1856"/>
                </a:lnTo>
                <a:lnTo>
                  <a:pt x="3244" y="1863"/>
                </a:lnTo>
                <a:lnTo>
                  <a:pt x="3246" y="1867"/>
                </a:lnTo>
                <a:lnTo>
                  <a:pt x="3253" y="1875"/>
                </a:lnTo>
                <a:lnTo>
                  <a:pt x="3244" y="1889"/>
                </a:lnTo>
                <a:lnTo>
                  <a:pt x="3234" y="1908"/>
                </a:lnTo>
                <a:lnTo>
                  <a:pt x="3232" y="1910"/>
                </a:lnTo>
                <a:lnTo>
                  <a:pt x="3232" y="1912"/>
                </a:lnTo>
                <a:lnTo>
                  <a:pt x="3232" y="1915"/>
                </a:lnTo>
                <a:lnTo>
                  <a:pt x="3232" y="1917"/>
                </a:lnTo>
                <a:lnTo>
                  <a:pt x="3234" y="1920"/>
                </a:lnTo>
                <a:lnTo>
                  <a:pt x="3234" y="1920"/>
                </a:lnTo>
                <a:lnTo>
                  <a:pt x="3234" y="1924"/>
                </a:lnTo>
                <a:lnTo>
                  <a:pt x="3234" y="1927"/>
                </a:lnTo>
                <a:lnTo>
                  <a:pt x="3234" y="1929"/>
                </a:lnTo>
                <a:lnTo>
                  <a:pt x="3232" y="1934"/>
                </a:lnTo>
                <a:lnTo>
                  <a:pt x="3248" y="1941"/>
                </a:lnTo>
                <a:lnTo>
                  <a:pt x="3253" y="1946"/>
                </a:lnTo>
                <a:lnTo>
                  <a:pt x="3255" y="1953"/>
                </a:lnTo>
                <a:lnTo>
                  <a:pt x="3258" y="1957"/>
                </a:lnTo>
                <a:lnTo>
                  <a:pt x="3248" y="1979"/>
                </a:lnTo>
                <a:lnTo>
                  <a:pt x="3248" y="1983"/>
                </a:lnTo>
                <a:lnTo>
                  <a:pt x="3248" y="1995"/>
                </a:lnTo>
                <a:lnTo>
                  <a:pt x="3248" y="2000"/>
                </a:lnTo>
                <a:lnTo>
                  <a:pt x="3248" y="2002"/>
                </a:lnTo>
                <a:lnTo>
                  <a:pt x="3246" y="2007"/>
                </a:lnTo>
                <a:lnTo>
                  <a:pt x="3241" y="2010"/>
                </a:lnTo>
                <a:lnTo>
                  <a:pt x="3239" y="2010"/>
                </a:lnTo>
                <a:lnTo>
                  <a:pt x="3236" y="2010"/>
                </a:lnTo>
                <a:lnTo>
                  <a:pt x="3234" y="2007"/>
                </a:lnTo>
                <a:lnTo>
                  <a:pt x="3234" y="2007"/>
                </a:lnTo>
                <a:lnTo>
                  <a:pt x="3234" y="2007"/>
                </a:lnTo>
                <a:lnTo>
                  <a:pt x="3234" y="2010"/>
                </a:lnTo>
                <a:lnTo>
                  <a:pt x="3215" y="2019"/>
                </a:lnTo>
                <a:lnTo>
                  <a:pt x="3210" y="2024"/>
                </a:lnTo>
                <a:lnTo>
                  <a:pt x="3208" y="2028"/>
                </a:lnTo>
                <a:lnTo>
                  <a:pt x="3213" y="2036"/>
                </a:lnTo>
                <a:lnTo>
                  <a:pt x="3218" y="2040"/>
                </a:lnTo>
                <a:lnTo>
                  <a:pt x="3218" y="2045"/>
                </a:lnTo>
                <a:lnTo>
                  <a:pt x="3215" y="2050"/>
                </a:lnTo>
                <a:lnTo>
                  <a:pt x="3213" y="2059"/>
                </a:lnTo>
                <a:lnTo>
                  <a:pt x="3220" y="2054"/>
                </a:lnTo>
                <a:lnTo>
                  <a:pt x="3232" y="2050"/>
                </a:lnTo>
                <a:lnTo>
                  <a:pt x="3246" y="2047"/>
                </a:lnTo>
                <a:lnTo>
                  <a:pt x="3255" y="2052"/>
                </a:lnTo>
                <a:lnTo>
                  <a:pt x="3265" y="2045"/>
                </a:lnTo>
                <a:lnTo>
                  <a:pt x="3279" y="2026"/>
                </a:lnTo>
                <a:lnTo>
                  <a:pt x="3296" y="2014"/>
                </a:lnTo>
                <a:lnTo>
                  <a:pt x="3303" y="2005"/>
                </a:lnTo>
                <a:lnTo>
                  <a:pt x="3300" y="1995"/>
                </a:lnTo>
                <a:lnTo>
                  <a:pt x="3298" y="1993"/>
                </a:lnTo>
                <a:lnTo>
                  <a:pt x="3293" y="1998"/>
                </a:lnTo>
                <a:lnTo>
                  <a:pt x="3291" y="1995"/>
                </a:lnTo>
                <a:lnTo>
                  <a:pt x="3289" y="1993"/>
                </a:lnTo>
                <a:lnTo>
                  <a:pt x="3286" y="1986"/>
                </a:lnTo>
                <a:lnTo>
                  <a:pt x="3286" y="1986"/>
                </a:lnTo>
                <a:lnTo>
                  <a:pt x="3284" y="1979"/>
                </a:lnTo>
                <a:lnTo>
                  <a:pt x="3281" y="1974"/>
                </a:lnTo>
                <a:lnTo>
                  <a:pt x="3281" y="1967"/>
                </a:lnTo>
                <a:lnTo>
                  <a:pt x="3289" y="1960"/>
                </a:lnTo>
                <a:lnTo>
                  <a:pt x="3296" y="1948"/>
                </a:lnTo>
                <a:lnTo>
                  <a:pt x="3305" y="1938"/>
                </a:lnTo>
                <a:lnTo>
                  <a:pt x="3312" y="1934"/>
                </a:lnTo>
                <a:lnTo>
                  <a:pt x="3322" y="1934"/>
                </a:lnTo>
                <a:lnTo>
                  <a:pt x="3331" y="1929"/>
                </a:lnTo>
                <a:lnTo>
                  <a:pt x="3355" y="1910"/>
                </a:lnTo>
                <a:lnTo>
                  <a:pt x="3374" y="1905"/>
                </a:lnTo>
                <a:lnTo>
                  <a:pt x="3393" y="1905"/>
                </a:lnTo>
                <a:lnTo>
                  <a:pt x="3438" y="1912"/>
                </a:lnTo>
                <a:lnTo>
                  <a:pt x="3442" y="1915"/>
                </a:lnTo>
                <a:lnTo>
                  <a:pt x="3445" y="1917"/>
                </a:lnTo>
                <a:lnTo>
                  <a:pt x="3447" y="1927"/>
                </a:lnTo>
                <a:lnTo>
                  <a:pt x="3445" y="1934"/>
                </a:lnTo>
                <a:lnTo>
                  <a:pt x="3438" y="1943"/>
                </a:lnTo>
                <a:lnTo>
                  <a:pt x="3438" y="1948"/>
                </a:lnTo>
                <a:lnTo>
                  <a:pt x="3445" y="1957"/>
                </a:lnTo>
                <a:lnTo>
                  <a:pt x="3454" y="1967"/>
                </a:lnTo>
                <a:lnTo>
                  <a:pt x="3464" y="1979"/>
                </a:lnTo>
                <a:lnTo>
                  <a:pt x="3454" y="2000"/>
                </a:lnTo>
                <a:lnTo>
                  <a:pt x="3449" y="2017"/>
                </a:lnTo>
                <a:lnTo>
                  <a:pt x="3449" y="2031"/>
                </a:lnTo>
                <a:lnTo>
                  <a:pt x="3452" y="2038"/>
                </a:lnTo>
                <a:lnTo>
                  <a:pt x="3475" y="2040"/>
                </a:lnTo>
                <a:lnTo>
                  <a:pt x="3480" y="2045"/>
                </a:lnTo>
                <a:lnTo>
                  <a:pt x="3480" y="2047"/>
                </a:lnTo>
                <a:lnTo>
                  <a:pt x="3478" y="2052"/>
                </a:lnTo>
                <a:lnTo>
                  <a:pt x="3478" y="2054"/>
                </a:lnTo>
                <a:lnTo>
                  <a:pt x="3475" y="2057"/>
                </a:lnTo>
                <a:lnTo>
                  <a:pt x="3475" y="2057"/>
                </a:lnTo>
                <a:lnTo>
                  <a:pt x="3478" y="2062"/>
                </a:lnTo>
                <a:lnTo>
                  <a:pt x="3478" y="2064"/>
                </a:lnTo>
                <a:lnTo>
                  <a:pt x="3478" y="2066"/>
                </a:lnTo>
                <a:lnTo>
                  <a:pt x="3478" y="2069"/>
                </a:lnTo>
                <a:lnTo>
                  <a:pt x="3478" y="2071"/>
                </a:lnTo>
                <a:lnTo>
                  <a:pt x="3478" y="2071"/>
                </a:lnTo>
                <a:lnTo>
                  <a:pt x="3480" y="2073"/>
                </a:lnTo>
                <a:lnTo>
                  <a:pt x="3483" y="2073"/>
                </a:lnTo>
                <a:lnTo>
                  <a:pt x="3485" y="2071"/>
                </a:lnTo>
                <a:lnTo>
                  <a:pt x="3487" y="2069"/>
                </a:lnTo>
                <a:lnTo>
                  <a:pt x="3490" y="2069"/>
                </a:lnTo>
                <a:lnTo>
                  <a:pt x="3497" y="2071"/>
                </a:lnTo>
                <a:lnTo>
                  <a:pt x="3518" y="2092"/>
                </a:lnTo>
                <a:lnTo>
                  <a:pt x="3520" y="2092"/>
                </a:lnTo>
                <a:lnTo>
                  <a:pt x="3520" y="2097"/>
                </a:lnTo>
                <a:lnTo>
                  <a:pt x="3525" y="2107"/>
                </a:lnTo>
                <a:lnTo>
                  <a:pt x="3527" y="2114"/>
                </a:lnTo>
                <a:lnTo>
                  <a:pt x="3530" y="2118"/>
                </a:lnTo>
                <a:lnTo>
                  <a:pt x="3532" y="2121"/>
                </a:lnTo>
                <a:lnTo>
                  <a:pt x="3527" y="2123"/>
                </a:lnTo>
                <a:lnTo>
                  <a:pt x="3525" y="2128"/>
                </a:lnTo>
                <a:lnTo>
                  <a:pt x="3525" y="2133"/>
                </a:lnTo>
                <a:lnTo>
                  <a:pt x="3523" y="2137"/>
                </a:lnTo>
                <a:lnTo>
                  <a:pt x="3518" y="2144"/>
                </a:lnTo>
                <a:lnTo>
                  <a:pt x="3513" y="2152"/>
                </a:lnTo>
                <a:lnTo>
                  <a:pt x="3506" y="2154"/>
                </a:lnTo>
                <a:lnTo>
                  <a:pt x="3501" y="2159"/>
                </a:lnTo>
                <a:lnTo>
                  <a:pt x="3494" y="2159"/>
                </a:lnTo>
                <a:lnTo>
                  <a:pt x="3492" y="2159"/>
                </a:lnTo>
                <a:lnTo>
                  <a:pt x="3490" y="2159"/>
                </a:lnTo>
                <a:lnTo>
                  <a:pt x="3487" y="2156"/>
                </a:lnTo>
                <a:lnTo>
                  <a:pt x="3487" y="2156"/>
                </a:lnTo>
                <a:lnTo>
                  <a:pt x="3485" y="2159"/>
                </a:lnTo>
                <a:lnTo>
                  <a:pt x="3485" y="2161"/>
                </a:lnTo>
                <a:lnTo>
                  <a:pt x="3485" y="2163"/>
                </a:lnTo>
                <a:lnTo>
                  <a:pt x="3485" y="2163"/>
                </a:lnTo>
                <a:lnTo>
                  <a:pt x="3475" y="2166"/>
                </a:lnTo>
                <a:lnTo>
                  <a:pt x="3471" y="2168"/>
                </a:lnTo>
                <a:lnTo>
                  <a:pt x="3468" y="2175"/>
                </a:lnTo>
                <a:lnTo>
                  <a:pt x="3466" y="2182"/>
                </a:lnTo>
                <a:lnTo>
                  <a:pt x="3468" y="2189"/>
                </a:lnTo>
                <a:lnTo>
                  <a:pt x="3468" y="2196"/>
                </a:lnTo>
                <a:lnTo>
                  <a:pt x="3473" y="2215"/>
                </a:lnTo>
                <a:lnTo>
                  <a:pt x="3480" y="2223"/>
                </a:lnTo>
                <a:lnTo>
                  <a:pt x="3490" y="2227"/>
                </a:lnTo>
                <a:lnTo>
                  <a:pt x="3497" y="2230"/>
                </a:lnTo>
                <a:lnTo>
                  <a:pt x="3501" y="2230"/>
                </a:lnTo>
                <a:lnTo>
                  <a:pt x="3509" y="2237"/>
                </a:lnTo>
                <a:lnTo>
                  <a:pt x="3513" y="2239"/>
                </a:lnTo>
                <a:lnTo>
                  <a:pt x="3523" y="2241"/>
                </a:lnTo>
                <a:lnTo>
                  <a:pt x="3525" y="2244"/>
                </a:lnTo>
                <a:lnTo>
                  <a:pt x="3527" y="2249"/>
                </a:lnTo>
                <a:lnTo>
                  <a:pt x="3527" y="2251"/>
                </a:lnTo>
                <a:lnTo>
                  <a:pt x="3525" y="2260"/>
                </a:lnTo>
                <a:lnTo>
                  <a:pt x="3525" y="2263"/>
                </a:lnTo>
                <a:lnTo>
                  <a:pt x="3525" y="2267"/>
                </a:lnTo>
                <a:lnTo>
                  <a:pt x="3530" y="2272"/>
                </a:lnTo>
                <a:lnTo>
                  <a:pt x="3530" y="2275"/>
                </a:lnTo>
                <a:lnTo>
                  <a:pt x="3535" y="2291"/>
                </a:lnTo>
                <a:lnTo>
                  <a:pt x="3537" y="2298"/>
                </a:lnTo>
                <a:lnTo>
                  <a:pt x="3551" y="2305"/>
                </a:lnTo>
                <a:lnTo>
                  <a:pt x="3565" y="2312"/>
                </a:lnTo>
                <a:lnTo>
                  <a:pt x="3568" y="2317"/>
                </a:lnTo>
                <a:lnTo>
                  <a:pt x="3570" y="2322"/>
                </a:lnTo>
                <a:lnTo>
                  <a:pt x="3572" y="2327"/>
                </a:lnTo>
                <a:lnTo>
                  <a:pt x="3577" y="2329"/>
                </a:lnTo>
                <a:lnTo>
                  <a:pt x="3591" y="2334"/>
                </a:lnTo>
                <a:lnTo>
                  <a:pt x="3594" y="2336"/>
                </a:lnTo>
                <a:lnTo>
                  <a:pt x="3594" y="2341"/>
                </a:lnTo>
                <a:lnTo>
                  <a:pt x="3591" y="2348"/>
                </a:lnTo>
                <a:lnTo>
                  <a:pt x="3587" y="2360"/>
                </a:lnTo>
                <a:lnTo>
                  <a:pt x="3577" y="2372"/>
                </a:lnTo>
                <a:lnTo>
                  <a:pt x="3577" y="2374"/>
                </a:lnTo>
                <a:lnTo>
                  <a:pt x="3580" y="2386"/>
                </a:lnTo>
                <a:lnTo>
                  <a:pt x="3582" y="2395"/>
                </a:lnTo>
                <a:lnTo>
                  <a:pt x="3584" y="2402"/>
                </a:lnTo>
                <a:lnTo>
                  <a:pt x="3575" y="2410"/>
                </a:lnTo>
                <a:lnTo>
                  <a:pt x="3570" y="2421"/>
                </a:lnTo>
                <a:lnTo>
                  <a:pt x="3570" y="2424"/>
                </a:lnTo>
                <a:lnTo>
                  <a:pt x="3568" y="2421"/>
                </a:lnTo>
                <a:lnTo>
                  <a:pt x="3563" y="2419"/>
                </a:lnTo>
                <a:lnTo>
                  <a:pt x="3561" y="2417"/>
                </a:lnTo>
                <a:lnTo>
                  <a:pt x="3551" y="2421"/>
                </a:lnTo>
                <a:lnTo>
                  <a:pt x="3539" y="2426"/>
                </a:lnTo>
                <a:lnTo>
                  <a:pt x="3537" y="2431"/>
                </a:lnTo>
                <a:lnTo>
                  <a:pt x="3532" y="2440"/>
                </a:lnTo>
                <a:lnTo>
                  <a:pt x="3527" y="2445"/>
                </a:lnTo>
                <a:lnTo>
                  <a:pt x="3525" y="2445"/>
                </a:lnTo>
                <a:lnTo>
                  <a:pt x="3518" y="2447"/>
                </a:lnTo>
                <a:lnTo>
                  <a:pt x="3516" y="2447"/>
                </a:lnTo>
                <a:lnTo>
                  <a:pt x="3516" y="2452"/>
                </a:lnTo>
                <a:lnTo>
                  <a:pt x="3518" y="2454"/>
                </a:lnTo>
                <a:lnTo>
                  <a:pt x="3518" y="2454"/>
                </a:lnTo>
                <a:lnTo>
                  <a:pt x="3518" y="2459"/>
                </a:lnTo>
                <a:lnTo>
                  <a:pt x="3509" y="2464"/>
                </a:lnTo>
                <a:lnTo>
                  <a:pt x="3499" y="2462"/>
                </a:lnTo>
                <a:lnTo>
                  <a:pt x="3487" y="2454"/>
                </a:lnTo>
                <a:lnTo>
                  <a:pt x="3475" y="2454"/>
                </a:lnTo>
                <a:lnTo>
                  <a:pt x="3473" y="2457"/>
                </a:lnTo>
                <a:lnTo>
                  <a:pt x="3468" y="2462"/>
                </a:lnTo>
                <a:lnTo>
                  <a:pt x="3466" y="2462"/>
                </a:lnTo>
                <a:lnTo>
                  <a:pt x="3464" y="2464"/>
                </a:lnTo>
                <a:lnTo>
                  <a:pt x="3459" y="2464"/>
                </a:lnTo>
                <a:lnTo>
                  <a:pt x="3457" y="2464"/>
                </a:lnTo>
                <a:lnTo>
                  <a:pt x="3447" y="2471"/>
                </a:lnTo>
                <a:lnTo>
                  <a:pt x="3440" y="2476"/>
                </a:lnTo>
                <a:lnTo>
                  <a:pt x="3438" y="2481"/>
                </a:lnTo>
                <a:lnTo>
                  <a:pt x="3445" y="2488"/>
                </a:lnTo>
                <a:lnTo>
                  <a:pt x="3449" y="2492"/>
                </a:lnTo>
                <a:lnTo>
                  <a:pt x="3449" y="2495"/>
                </a:lnTo>
                <a:lnTo>
                  <a:pt x="3449" y="2499"/>
                </a:lnTo>
                <a:lnTo>
                  <a:pt x="3452" y="2502"/>
                </a:lnTo>
                <a:lnTo>
                  <a:pt x="3454" y="2509"/>
                </a:lnTo>
                <a:lnTo>
                  <a:pt x="3459" y="2511"/>
                </a:lnTo>
                <a:lnTo>
                  <a:pt x="3468" y="2511"/>
                </a:lnTo>
                <a:lnTo>
                  <a:pt x="3478" y="2516"/>
                </a:lnTo>
                <a:lnTo>
                  <a:pt x="3480" y="2528"/>
                </a:lnTo>
                <a:lnTo>
                  <a:pt x="3483" y="2552"/>
                </a:lnTo>
                <a:lnTo>
                  <a:pt x="3487" y="2561"/>
                </a:lnTo>
                <a:lnTo>
                  <a:pt x="3499" y="2568"/>
                </a:lnTo>
                <a:lnTo>
                  <a:pt x="3520" y="2580"/>
                </a:lnTo>
                <a:lnTo>
                  <a:pt x="3525" y="2580"/>
                </a:lnTo>
                <a:lnTo>
                  <a:pt x="3539" y="2575"/>
                </a:lnTo>
                <a:lnTo>
                  <a:pt x="3546" y="2575"/>
                </a:lnTo>
                <a:lnTo>
                  <a:pt x="3561" y="2580"/>
                </a:lnTo>
                <a:lnTo>
                  <a:pt x="3568" y="2587"/>
                </a:lnTo>
                <a:lnTo>
                  <a:pt x="3568" y="2587"/>
                </a:lnTo>
                <a:lnTo>
                  <a:pt x="3570" y="2589"/>
                </a:lnTo>
                <a:lnTo>
                  <a:pt x="3570" y="2592"/>
                </a:lnTo>
                <a:lnTo>
                  <a:pt x="3570" y="2594"/>
                </a:lnTo>
                <a:lnTo>
                  <a:pt x="3570" y="2594"/>
                </a:lnTo>
                <a:lnTo>
                  <a:pt x="3568" y="2596"/>
                </a:lnTo>
                <a:lnTo>
                  <a:pt x="3568" y="2601"/>
                </a:lnTo>
                <a:lnTo>
                  <a:pt x="3568" y="2604"/>
                </a:lnTo>
                <a:lnTo>
                  <a:pt x="3572" y="2611"/>
                </a:lnTo>
                <a:lnTo>
                  <a:pt x="3575" y="2623"/>
                </a:lnTo>
                <a:lnTo>
                  <a:pt x="3575" y="2625"/>
                </a:lnTo>
                <a:lnTo>
                  <a:pt x="3587" y="2641"/>
                </a:lnTo>
                <a:lnTo>
                  <a:pt x="3589" y="2649"/>
                </a:lnTo>
                <a:lnTo>
                  <a:pt x="3584" y="2649"/>
                </a:lnTo>
                <a:lnTo>
                  <a:pt x="3572" y="2646"/>
                </a:lnTo>
                <a:lnTo>
                  <a:pt x="3568" y="2646"/>
                </a:lnTo>
                <a:lnTo>
                  <a:pt x="3561" y="2651"/>
                </a:lnTo>
                <a:lnTo>
                  <a:pt x="3556" y="2658"/>
                </a:lnTo>
                <a:lnTo>
                  <a:pt x="3554" y="2667"/>
                </a:lnTo>
                <a:lnTo>
                  <a:pt x="3558" y="2677"/>
                </a:lnTo>
                <a:lnTo>
                  <a:pt x="3554" y="2679"/>
                </a:lnTo>
                <a:lnTo>
                  <a:pt x="3544" y="2698"/>
                </a:lnTo>
                <a:lnTo>
                  <a:pt x="3530" y="2712"/>
                </a:lnTo>
                <a:lnTo>
                  <a:pt x="3527" y="2717"/>
                </a:lnTo>
                <a:lnTo>
                  <a:pt x="3530" y="2731"/>
                </a:lnTo>
                <a:lnTo>
                  <a:pt x="3537" y="2743"/>
                </a:lnTo>
                <a:lnTo>
                  <a:pt x="3549" y="2750"/>
                </a:lnTo>
                <a:lnTo>
                  <a:pt x="3556" y="2757"/>
                </a:lnTo>
                <a:lnTo>
                  <a:pt x="3546" y="2765"/>
                </a:lnTo>
                <a:lnTo>
                  <a:pt x="3544" y="2767"/>
                </a:lnTo>
                <a:lnTo>
                  <a:pt x="3544" y="2781"/>
                </a:lnTo>
                <a:lnTo>
                  <a:pt x="3542" y="2783"/>
                </a:lnTo>
                <a:lnTo>
                  <a:pt x="3544" y="2786"/>
                </a:lnTo>
                <a:lnTo>
                  <a:pt x="3544" y="2791"/>
                </a:lnTo>
                <a:lnTo>
                  <a:pt x="3546" y="2791"/>
                </a:lnTo>
                <a:lnTo>
                  <a:pt x="3554" y="2798"/>
                </a:lnTo>
                <a:lnTo>
                  <a:pt x="3556" y="2802"/>
                </a:lnTo>
                <a:lnTo>
                  <a:pt x="3561" y="2812"/>
                </a:lnTo>
                <a:lnTo>
                  <a:pt x="3563" y="2814"/>
                </a:lnTo>
                <a:lnTo>
                  <a:pt x="3565" y="2817"/>
                </a:lnTo>
                <a:lnTo>
                  <a:pt x="3572" y="2821"/>
                </a:lnTo>
                <a:lnTo>
                  <a:pt x="3575" y="2824"/>
                </a:lnTo>
                <a:lnTo>
                  <a:pt x="3577" y="2828"/>
                </a:lnTo>
                <a:lnTo>
                  <a:pt x="3577" y="2831"/>
                </a:lnTo>
                <a:lnTo>
                  <a:pt x="3580" y="2836"/>
                </a:lnTo>
                <a:lnTo>
                  <a:pt x="3582" y="2838"/>
                </a:lnTo>
                <a:lnTo>
                  <a:pt x="3587" y="2840"/>
                </a:lnTo>
                <a:lnTo>
                  <a:pt x="3591" y="2838"/>
                </a:lnTo>
                <a:lnTo>
                  <a:pt x="3594" y="2838"/>
                </a:lnTo>
                <a:lnTo>
                  <a:pt x="3598" y="2836"/>
                </a:lnTo>
                <a:lnTo>
                  <a:pt x="3603" y="2838"/>
                </a:lnTo>
                <a:lnTo>
                  <a:pt x="3622" y="2845"/>
                </a:lnTo>
                <a:lnTo>
                  <a:pt x="3634" y="2850"/>
                </a:lnTo>
                <a:lnTo>
                  <a:pt x="3667" y="2866"/>
                </a:lnTo>
                <a:lnTo>
                  <a:pt x="3674" y="2869"/>
                </a:lnTo>
                <a:lnTo>
                  <a:pt x="3681" y="2869"/>
                </a:lnTo>
                <a:lnTo>
                  <a:pt x="3686" y="2869"/>
                </a:lnTo>
                <a:lnTo>
                  <a:pt x="3688" y="2873"/>
                </a:lnTo>
                <a:lnTo>
                  <a:pt x="3691" y="2876"/>
                </a:lnTo>
                <a:lnTo>
                  <a:pt x="3693" y="2878"/>
                </a:lnTo>
                <a:lnTo>
                  <a:pt x="3695" y="2878"/>
                </a:lnTo>
                <a:lnTo>
                  <a:pt x="3707" y="2878"/>
                </a:lnTo>
                <a:lnTo>
                  <a:pt x="3759" y="2857"/>
                </a:lnTo>
                <a:lnTo>
                  <a:pt x="3769" y="2857"/>
                </a:lnTo>
                <a:lnTo>
                  <a:pt x="3781" y="2847"/>
                </a:lnTo>
                <a:lnTo>
                  <a:pt x="3790" y="2847"/>
                </a:lnTo>
                <a:lnTo>
                  <a:pt x="3788" y="2862"/>
                </a:lnTo>
                <a:lnTo>
                  <a:pt x="3792" y="2869"/>
                </a:lnTo>
                <a:lnTo>
                  <a:pt x="3800" y="2876"/>
                </a:lnTo>
                <a:lnTo>
                  <a:pt x="3804" y="2885"/>
                </a:lnTo>
                <a:lnTo>
                  <a:pt x="3804" y="2892"/>
                </a:lnTo>
                <a:lnTo>
                  <a:pt x="3802" y="2897"/>
                </a:lnTo>
                <a:lnTo>
                  <a:pt x="3797" y="2902"/>
                </a:lnTo>
                <a:lnTo>
                  <a:pt x="3795" y="2907"/>
                </a:lnTo>
                <a:lnTo>
                  <a:pt x="3792" y="2911"/>
                </a:lnTo>
                <a:lnTo>
                  <a:pt x="3792" y="2921"/>
                </a:lnTo>
                <a:lnTo>
                  <a:pt x="3790" y="2925"/>
                </a:lnTo>
                <a:lnTo>
                  <a:pt x="3783" y="2935"/>
                </a:lnTo>
                <a:lnTo>
                  <a:pt x="3769" y="2949"/>
                </a:lnTo>
                <a:lnTo>
                  <a:pt x="3764" y="2959"/>
                </a:lnTo>
                <a:lnTo>
                  <a:pt x="3752" y="2975"/>
                </a:lnTo>
                <a:lnTo>
                  <a:pt x="3748" y="2985"/>
                </a:lnTo>
                <a:lnTo>
                  <a:pt x="3750" y="2996"/>
                </a:lnTo>
                <a:lnTo>
                  <a:pt x="3759" y="3015"/>
                </a:lnTo>
                <a:lnTo>
                  <a:pt x="3755" y="3018"/>
                </a:lnTo>
                <a:lnTo>
                  <a:pt x="3752" y="3018"/>
                </a:lnTo>
                <a:lnTo>
                  <a:pt x="3752" y="3018"/>
                </a:lnTo>
                <a:lnTo>
                  <a:pt x="3750" y="3020"/>
                </a:lnTo>
                <a:lnTo>
                  <a:pt x="3750" y="3020"/>
                </a:lnTo>
                <a:lnTo>
                  <a:pt x="3752" y="3027"/>
                </a:lnTo>
                <a:lnTo>
                  <a:pt x="3752" y="3027"/>
                </a:lnTo>
                <a:lnTo>
                  <a:pt x="3750" y="3030"/>
                </a:lnTo>
                <a:lnTo>
                  <a:pt x="3748" y="3030"/>
                </a:lnTo>
                <a:lnTo>
                  <a:pt x="3745" y="3030"/>
                </a:lnTo>
                <a:lnTo>
                  <a:pt x="3743" y="3030"/>
                </a:lnTo>
                <a:lnTo>
                  <a:pt x="3738" y="3030"/>
                </a:lnTo>
                <a:lnTo>
                  <a:pt x="3738" y="3034"/>
                </a:lnTo>
                <a:lnTo>
                  <a:pt x="3731" y="3030"/>
                </a:lnTo>
                <a:lnTo>
                  <a:pt x="3724" y="3034"/>
                </a:lnTo>
                <a:lnTo>
                  <a:pt x="3722" y="3039"/>
                </a:lnTo>
                <a:lnTo>
                  <a:pt x="3719" y="3044"/>
                </a:lnTo>
                <a:lnTo>
                  <a:pt x="3714" y="3046"/>
                </a:lnTo>
                <a:lnTo>
                  <a:pt x="3712" y="3051"/>
                </a:lnTo>
                <a:lnTo>
                  <a:pt x="3712" y="3056"/>
                </a:lnTo>
                <a:lnTo>
                  <a:pt x="3712" y="3060"/>
                </a:lnTo>
                <a:lnTo>
                  <a:pt x="3705" y="3060"/>
                </a:lnTo>
                <a:lnTo>
                  <a:pt x="3707" y="3060"/>
                </a:lnTo>
                <a:lnTo>
                  <a:pt x="3707" y="3056"/>
                </a:lnTo>
                <a:lnTo>
                  <a:pt x="3693" y="3058"/>
                </a:lnTo>
                <a:lnTo>
                  <a:pt x="3691" y="3058"/>
                </a:lnTo>
                <a:lnTo>
                  <a:pt x="3686" y="3058"/>
                </a:lnTo>
                <a:lnTo>
                  <a:pt x="3681" y="3060"/>
                </a:lnTo>
                <a:lnTo>
                  <a:pt x="3677" y="3070"/>
                </a:lnTo>
                <a:lnTo>
                  <a:pt x="3674" y="3072"/>
                </a:lnTo>
                <a:lnTo>
                  <a:pt x="3672" y="3075"/>
                </a:lnTo>
                <a:lnTo>
                  <a:pt x="3669" y="3077"/>
                </a:lnTo>
                <a:lnTo>
                  <a:pt x="3665" y="3077"/>
                </a:lnTo>
                <a:lnTo>
                  <a:pt x="3660" y="3079"/>
                </a:lnTo>
                <a:lnTo>
                  <a:pt x="3655" y="3084"/>
                </a:lnTo>
                <a:lnTo>
                  <a:pt x="3655" y="3089"/>
                </a:lnTo>
                <a:lnTo>
                  <a:pt x="3653" y="3091"/>
                </a:lnTo>
                <a:lnTo>
                  <a:pt x="3651" y="3094"/>
                </a:lnTo>
                <a:lnTo>
                  <a:pt x="3653" y="3112"/>
                </a:lnTo>
                <a:lnTo>
                  <a:pt x="3653" y="3117"/>
                </a:lnTo>
                <a:lnTo>
                  <a:pt x="3653" y="3120"/>
                </a:lnTo>
                <a:lnTo>
                  <a:pt x="3653" y="3120"/>
                </a:lnTo>
                <a:lnTo>
                  <a:pt x="3653" y="3122"/>
                </a:lnTo>
                <a:lnTo>
                  <a:pt x="3648" y="3124"/>
                </a:lnTo>
                <a:lnTo>
                  <a:pt x="3648" y="3122"/>
                </a:lnTo>
                <a:lnTo>
                  <a:pt x="3648" y="3120"/>
                </a:lnTo>
                <a:lnTo>
                  <a:pt x="3646" y="3117"/>
                </a:lnTo>
                <a:lnTo>
                  <a:pt x="3639" y="3120"/>
                </a:lnTo>
                <a:lnTo>
                  <a:pt x="3632" y="3124"/>
                </a:lnTo>
                <a:lnTo>
                  <a:pt x="3622" y="3129"/>
                </a:lnTo>
                <a:lnTo>
                  <a:pt x="3615" y="3127"/>
                </a:lnTo>
                <a:lnTo>
                  <a:pt x="3610" y="3129"/>
                </a:lnTo>
                <a:lnTo>
                  <a:pt x="3606" y="3134"/>
                </a:lnTo>
                <a:lnTo>
                  <a:pt x="3603" y="3138"/>
                </a:lnTo>
                <a:lnTo>
                  <a:pt x="3598" y="3146"/>
                </a:lnTo>
                <a:lnTo>
                  <a:pt x="3598" y="3146"/>
                </a:lnTo>
                <a:lnTo>
                  <a:pt x="3598" y="3153"/>
                </a:lnTo>
                <a:lnTo>
                  <a:pt x="3598" y="3153"/>
                </a:lnTo>
                <a:lnTo>
                  <a:pt x="3598" y="3153"/>
                </a:lnTo>
                <a:lnTo>
                  <a:pt x="3589" y="3174"/>
                </a:lnTo>
                <a:lnTo>
                  <a:pt x="3589" y="3174"/>
                </a:lnTo>
                <a:lnTo>
                  <a:pt x="3587" y="3174"/>
                </a:lnTo>
                <a:lnTo>
                  <a:pt x="3584" y="3174"/>
                </a:lnTo>
                <a:lnTo>
                  <a:pt x="3584" y="3176"/>
                </a:lnTo>
                <a:lnTo>
                  <a:pt x="3584" y="3181"/>
                </a:lnTo>
                <a:lnTo>
                  <a:pt x="3582" y="3183"/>
                </a:lnTo>
                <a:lnTo>
                  <a:pt x="3582" y="3186"/>
                </a:lnTo>
                <a:lnTo>
                  <a:pt x="3580" y="3186"/>
                </a:lnTo>
                <a:lnTo>
                  <a:pt x="3577" y="3183"/>
                </a:lnTo>
                <a:lnTo>
                  <a:pt x="3577" y="3183"/>
                </a:lnTo>
                <a:lnTo>
                  <a:pt x="3575" y="3181"/>
                </a:lnTo>
                <a:lnTo>
                  <a:pt x="3572" y="3183"/>
                </a:lnTo>
                <a:lnTo>
                  <a:pt x="3572" y="3186"/>
                </a:lnTo>
                <a:lnTo>
                  <a:pt x="3572" y="3188"/>
                </a:lnTo>
                <a:lnTo>
                  <a:pt x="3556" y="3191"/>
                </a:lnTo>
                <a:lnTo>
                  <a:pt x="3549" y="3188"/>
                </a:lnTo>
                <a:lnTo>
                  <a:pt x="3542" y="3183"/>
                </a:lnTo>
                <a:lnTo>
                  <a:pt x="3539" y="3188"/>
                </a:lnTo>
                <a:lnTo>
                  <a:pt x="3537" y="3198"/>
                </a:lnTo>
                <a:lnTo>
                  <a:pt x="3535" y="3205"/>
                </a:lnTo>
                <a:lnTo>
                  <a:pt x="3532" y="3219"/>
                </a:lnTo>
                <a:lnTo>
                  <a:pt x="3530" y="3221"/>
                </a:lnTo>
                <a:lnTo>
                  <a:pt x="3525" y="3224"/>
                </a:lnTo>
                <a:lnTo>
                  <a:pt x="3520" y="3228"/>
                </a:lnTo>
                <a:lnTo>
                  <a:pt x="3518" y="3233"/>
                </a:lnTo>
                <a:lnTo>
                  <a:pt x="3518" y="3238"/>
                </a:lnTo>
                <a:lnTo>
                  <a:pt x="3513" y="3243"/>
                </a:lnTo>
                <a:lnTo>
                  <a:pt x="3509" y="3243"/>
                </a:lnTo>
                <a:lnTo>
                  <a:pt x="3499" y="3247"/>
                </a:lnTo>
                <a:lnTo>
                  <a:pt x="3494" y="3252"/>
                </a:lnTo>
                <a:lnTo>
                  <a:pt x="3494" y="3257"/>
                </a:lnTo>
                <a:lnTo>
                  <a:pt x="3497" y="3257"/>
                </a:lnTo>
                <a:lnTo>
                  <a:pt x="3527" y="3252"/>
                </a:lnTo>
                <a:lnTo>
                  <a:pt x="3527" y="3254"/>
                </a:lnTo>
                <a:lnTo>
                  <a:pt x="3525" y="3262"/>
                </a:lnTo>
                <a:lnTo>
                  <a:pt x="3525" y="3264"/>
                </a:lnTo>
                <a:lnTo>
                  <a:pt x="3523" y="3266"/>
                </a:lnTo>
                <a:lnTo>
                  <a:pt x="3523" y="3269"/>
                </a:lnTo>
                <a:lnTo>
                  <a:pt x="3523" y="3271"/>
                </a:lnTo>
                <a:lnTo>
                  <a:pt x="3523" y="3273"/>
                </a:lnTo>
                <a:lnTo>
                  <a:pt x="3525" y="3276"/>
                </a:lnTo>
                <a:lnTo>
                  <a:pt x="3525" y="3278"/>
                </a:lnTo>
                <a:lnTo>
                  <a:pt x="3527" y="3278"/>
                </a:lnTo>
                <a:lnTo>
                  <a:pt x="3525" y="3281"/>
                </a:lnTo>
                <a:lnTo>
                  <a:pt x="3513" y="3292"/>
                </a:lnTo>
                <a:lnTo>
                  <a:pt x="3516" y="3299"/>
                </a:lnTo>
                <a:lnTo>
                  <a:pt x="3511" y="3299"/>
                </a:lnTo>
                <a:lnTo>
                  <a:pt x="3506" y="3302"/>
                </a:lnTo>
                <a:lnTo>
                  <a:pt x="3504" y="3302"/>
                </a:lnTo>
                <a:lnTo>
                  <a:pt x="3501" y="3299"/>
                </a:lnTo>
                <a:lnTo>
                  <a:pt x="3501" y="3297"/>
                </a:lnTo>
                <a:lnTo>
                  <a:pt x="3499" y="3295"/>
                </a:lnTo>
                <a:lnTo>
                  <a:pt x="3494" y="3292"/>
                </a:lnTo>
                <a:lnTo>
                  <a:pt x="3487" y="3292"/>
                </a:lnTo>
                <a:lnTo>
                  <a:pt x="3483" y="3295"/>
                </a:lnTo>
                <a:lnTo>
                  <a:pt x="3478" y="3302"/>
                </a:lnTo>
                <a:lnTo>
                  <a:pt x="3473" y="3304"/>
                </a:lnTo>
                <a:lnTo>
                  <a:pt x="3468" y="3307"/>
                </a:lnTo>
                <a:lnTo>
                  <a:pt x="3461" y="3307"/>
                </a:lnTo>
                <a:lnTo>
                  <a:pt x="3459" y="3307"/>
                </a:lnTo>
                <a:lnTo>
                  <a:pt x="3452" y="3309"/>
                </a:lnTo>
                <a:lnTo>
                  <a:pt x="3447" y="3314"/>
                </a:lnTo>
                <a:lnTo>
                  <a:pt x="3435" y="3314"/>
                </a:lnTo>
                <a:lnTo>
                  <a:pt x="3433" y="3316"/>
                </a:lnTo>
                <a:lnTo>
                  <a:pt x="3430" y="3323"/>
                </a:lnTo>
                <a:lnTo>
                  <a:pt x="3430" y="3325"/>
                </a:lnTo>
                <a:lnTo>
                  <a:pt x="3433" y="3328"/>
                </a:lnTo>
                <a:lnTo>
                  <a:pt x="3430" y="3333"/>
                </a:lnTo>
                <a:lnTo>
                  <a:pt x="3435" y="3337"/>
                </a:lnTo>
                <a:lnTo>
                  <a:pt x="3433" y="3340"/>
                </a:lnTo>
                <a:lnTo>
                  <a:pt x="3421" y="3342"/>
                </a:lnTo>
                <a:lnTo>
                  <a:pt x="3421" y="3340"/>
                </a:lnTo>
                <a:lnTo>
                  <a:pt x="3419" y="3335"/>
                </a:lnTo>
                <a:lnTo>
                  <a:pt x="3419" y="3333"/>
                </a:lnTo>
                <a:lnTo>
                  <a:pt x="3414" y="3330"/>
                </a:lnTo>
                <a:lnTo>
                  <a:pt x="3412" y="3330"/>
                </a:lnTo>
                <a:lnTo>
                  <a:pt x="3407" y="3328"/>
                </a:lnTo>
                <a:lnTo>
                  <a:pt x="3404" y="3328"/>
                </a:lnTo>
                <a:lnTo>
                  <a:pt x="3383" y="3328"/>
                </a:lnTo>
                <a:lnTo>
                  <a:pt x="3378" y="3330"/>
                </a:lnTo>
                <a:lnTo>
                  <a:pt x="3371" y="3335"/>
                </a:lnTo>
                <a:lnTo>
                  <a:pt x="3371" y="3342"/>
                </a:lnTo>
                <a:lnTo>
                  <a:pt x="3371" y="3349"/>
                </a:lnTo>
                <a:lnTo>
                  <a:pt x="3369" y="3356"/>
                </a:lnTo>
                <a:lnTo>
                  <a:pt x="3371" y="3359"/>
                </a:lnTo>
                <a:lnTo>
                  <a:pt x="3374" y="3361"/>
                </a:lnTo>
                <a:lnTo>
                  <a:pt x="3376" y="3359"/>
                </a:lnTo>
                <a:lnTo>
                  <a:pt x="3376" y="3363"/>
                </a:lnTo>
                <a:lnTo>
                  <a:pt x="3371" y="3363"/>
                </a:lnTo>
                <a:lnTo>
                  <a:pt x="3350" y="3366"/>
                </a:lnTo>
                <a:lnTo>
                  <a:pt x="3345" y="3366"/>
                </a:lnTo>
                <a:lnTo>
                  <a:pt x="3345" y="3361"/>
                </a:lnTo>
                <a:lnTo>
                  <a:pt x="3355" y="3361"/>
                </a:lnTo>
                <a:lnTo>
                  <a:pt x="3357" y="3359"/>
                </a:lnTo>
                <a:lnTo>
                  <a:pt x="3359" y="3352"/>
                </a:lnTo>
                <a:lnTo>
                  <a:pt x="3359" y="3349"/>
                </a:lnTo>
                <a:lnTo>
                  <a:pt x="3355" y="3347"/>
                </a:lnTo>
                <a:lnTo>
                  <a:pt x="3333" y="3347"/>
                </a:lnTo>
                <a:lnTo>
                  <a:pt x="3331" y="3344"/>
                </a:lnTo>
                <a:lnTo>
                  <a:pt x="3324" y="3342"/>
                </a:lnTo>
                <a:lnTo>
                  <a:pt x="3315" y="3340"/>
                </a:lnTo>
                <a:lnTo>
                  <a:pt x="3305" y="3342"/>
                </a:lnTo>
                <a:lnTo>
                  <a:pt x="3298" y="3344"/>
                </a:lnTo>
                <a:lnTo>
                  <a:pt x="3300" y="3342"/>
                </a:lnTo>
                <a:lnTo>
                  <a:pt x="3300" y="3337"/>
                </a:lnTo>
                <a:lnTo>
                  <a:pt x="3300" y="3335"/>
                </a:lnTo>
                <a:lnTo>
                  <a:pt x="3296" y="3335"/>
                </a:lnTo>
                <a:lnTo>
                  <a:pt x="3291" y="3337"/>
                </a:lnTo>
                <a:lnTo>
                  <a:pt x="3281" y="3342"/>
                </a:lnTo>
                <a:lnTo>
                  <a:pt x="3286" y="3344"/>
                </a:lnTo>
                <a:lnTo>
                  <a:pt x="3293" y="3352"/>
                </a:lnTo>
                <a:lnTo>
                  <a:pt x="3300" y="3354"/>
                </a:lnTo>
                <a:lnTo>
                  <a:pt x="3300" y="3356"/>
                </a:lnTo>
                <a:lnTo>
                  <a:pt x="3289" y="3356"/>
                </a:lnTo>
                <a:lnTo>
                  <a:pt x="3284" y="3356"/>
                </a:lnTo>
                <a:lnTo>
                  <a:pt x="3284" y="3359"/>
                </a:lnTo>
                <a:lnTo>
                  <a:pt x="3281" y="3366"/>
                </a:lnTo>
                <a:lnTo>
                  <a:pt x="3279" y="3368"/>
                </a:lnTo>
                <a:lnTo>
                  <a:pt x="3272" y="3368"/>
                </a:lnTo>
                <a:lnTo>
                  <a:pt x="3255" y="3361"/>
                </a:lnTo>
                <a:lnTo>
                  <a:pt x="3253" y="3361"/>
                </a:lnTo>
                <a:lnTo>
                  <a:pt x="3251" y="3354"/>
                </a:lnTo>
                <a:lnTo>
                  <a:pt x="3253" y="3349"/>
                </a:lnTo>
                <a:lnTo>
                  <a:pt x="3262" y="3344"/>
                </a:lnTo>
                <a:lnTo>
                  <a:pt x="3260" y="3342"/>
                </a:lnTo>
                <a:lnTo>
                  <a:pt x="3258" y="3342"/>
                </a:lnTo>
                <a:lnTo>
                  <a:pt x="3253" y="3342"/>
                </a:lnTo>
                <a:lnTo>
                  <a:pt x="3251" y="3342"/>
                </a:lnTo>
                <a:lnTo>
                  <a:pt x="3248" y="3335"/>
                </a:lnTo>
                <a:lnTo>
                  <a:pt x="3246" y="3335"/>
                </a:lnTo>
                <a:lnTo>
                  <a:pt x="3239" y="3335"/>
                </a:lnTo>
                <a:lnTo>
                  <a:pt x="3232" y="3333"/>
                </a:lnTo>
                <a:lnTo>
                  <a:pt x="3220" y="3328"/>
                </a:lnTo>
                <a:lnTo>
                  <a:pt x="3222" y="3318"/>
                </a:lnTo>
                <a:lnTo>
                  <a:pt x="3215" y="3316"/>
                </a:lnTo>
                <a:lnTo>
                  <a:pt x="3199" y="3316"/>
                </a:lnTo>
                <a:lnTo>
                  <a:pt x="3199" y="3318"/>
                </a:lnTo>
                <a:lnTo>
                  <a:pt x="3199" y="3321"/>
                </a:lnTo>
                <a:lnTo>
                  <a:pt x="3199" y="3321"/>
                </a:lnTo>
                <a:lnTo>
                  <a:pt x="3196" y="3323"/>
                </a:lnTo>
                <a:lnTo>
                  <a:pt x="3194" y="3323"/>
                </a:lnTo>
                <a:lnTo>
                  <a:pt x="3192" y="3321"/>
                </a:lnTo>
                <a:lnTo>
                  <a:pt x="3189" y="3321"/>
                </a:lnTo>
                <a:lnTo>
                  <a:pt x="3187" y="3318"/>
                </a:lnTo>
                <a:lnTo>
                  <a:pt x="3184" y="3316"/>
                </a:lnTo>
                <a:lnTo>
                  <a:pt x="3175" y="3307"/>
                </a:lnTo>
                <a:lnTo>
                  <a:pt x="3173" y="3307"/>
                </a:lnTo>
                <a:lnTo>
                  <a:pt x="3168" y="3311"/>
                </a:lnTo>
                <a:lnTo>
                  <a:pt x="3163" y="3314"/>
                </a:lnTo>
                <a:lnTo>
                  <a:pt x="3161" y="3314"/>
                </a:lnTo>
                <a:lnTo>
                  <a:pt x="3158" y="3311"/>
                </a:lnTo>
                <a:lnTo>
                  <a:pt x="3154" y="3309"/>
                </a:lnTo>
                <a:lnTo>
                  <a:pt x="3147" y="3309"/>
                </a:lnTo>
                <a:lnTo>
                  <a:pt x="3139" y="3311"/>
                </a:lnTo>
                <a:lnTo>
                  <a:pt x="3135" y="3311"/>
                </a:lnTo>
                <a:lnTo>
                  <a:pt x="3130" y="3311"/>
                </a:lnTo>
                <a:lnTo>
                  <a:pt x="3121" y="3311"/>
                </a:lnTo>
                <a:lnTo>
                  <a:pt x="3116" y="3311"/>
                </a:lnTo>
                <a:lnTo>
                  <a:pt x="3113" y="3307"/>
                </a:lnTo>
                <a:lnTo>
                  <a:pt x="3116" y="3302"/>
                </a:lnTo>
                <a:lnTo>
                  <a:pt x="3116" y="3297"/>
                </a:lnTo>
                <a:lnTo>
                  <a:pt x="3118" y="3290"/>
                </a:lnTo>
                <a:lnTo>
                  <a:pt x="3121" y="3288"/>
                </a:lnTo>
                <a:lnTo>
                  <a:pt x="3121" y="3285"/>
                </a:lnTo>
                <a:lnTo>
                  <a:pt x="3118" y="3285"/>
                </a:lnTo>
                <a:lnTo>
                  <a:pt x="3116" y="3283"/>
                </a:lnTo>
                <a:lnTo>
                  <a:pt x="3113" y="3281"/>
                </a:lnTo>
                <a:lnTo>
                  <a:pt x="3113" y="3278"/>
                </a:lnTo>
                <a:lnTo>
                  <a:pt x="3111" y="3257"/>
                </a:lnTo>
                <a:lnTo>
                  <a:pt x="3102" y="3252"/>
                </a:lnTo>
                <a:lnTo>
                  <a:pt x="3061" y="3264"/>
                </a:lnTo>
                <a:lnTo>
                  <a:pt x="3047" y="3262"/>
                </a:lnTo>
                <a:lnTo>
                  <a:pt x="3045" y="3264"/>
                </a:lnTo>
                <a:lnTo>
                  <a:pt x="3024" y="3266"/>
                </a:lnTo>
                <a:lnTo>
                  <a:pt x="3016" y="3264"/>
                </a:lnTo>
                <a:lnTo>
                  <a:pt x="3007" y="3257"/>
                </a:lnTo>
                <a:lnTo>
                  <a:pt x="3005" y="3247"/>
                </a:lnTo>
                <a:lnTo>
                  <a:pt x="3009" y="3238"/>
                </a:lnTo>
                <a:lnTo>
                  <a:pt x="3019" y="3231"/>
                </a:lnTo>
                <a:lnTo>
                  <a:pt x="3047" y="3231"/>
                </a:lnTo>
                <a:lnTo>
                  <a:pt x="3054" y="3226"/>
                </a:lnTo>
                <a:lnTo>
                  <a:pt x="3059" y="3221"/>
                </a:lnTo>
                <a:lnTo>
                  <a:pt x="3066" y="3214"/>
                </a:lnTo>
                <a:lnTo>
                  <a:pt x="3068" y="3202"/>
                </a:lnTo>
                <a:lnTo>
                  <a:pt x="3068" y="3193"/>
                </a:lnTo>
                <a:lnTo>
                  <a:pt x="3059" y="3200"/>
                </a:lnTo>
                <a:lnTo>
                  <a:pt x="3050" y="3205"/>
                </a:lnTo>
                <a:lnTo>
                  <a:pt x="3042" y="3202"/>
                </a:lnTo>
                <a:lnTo>
                  <a:pt x="3035" y="3195"/>
                </a:lnTo>
                <a:lnTo>
                  <a:pt x="3033" y="3188"/>
                </a:lnTo>
                <a:lnTo>
                  <a:pt x="3033" y="3186"/>
                </a:lnTo>
                <a:lnTo>
                  <a:pt x="3031" y="3183"/>
                </a:lnTo>
                <a:lnTo>
                  <a:pt x="3024" y="3181"/>
                </a:lnTo>
                <a:lnTo>
                  <a:pt x="3021" y="3181"/>
                </a:lnTo>
                <a:lnTo>
                  <a:pt x="3014" y="3183"/>
                </a:lnTo>
                <a:lnTo>
                  <a:pt x="3014" y="3181"/>
                </a:lnTo>
                <a:lnTo>
                  <a:pt x="3009" y="3174"/>
                </a:lnTo>
                <a:lnTo>
                  <a:pt x="3007" y="3174"/>
                </a:lnTo>
                <a:lnTo>
                  <a:pt x="3005" y="3176"/>
                </a:lnTo>
                <a:lnTo>
                  <a:pt x="3002" y="3183"/>
                </a:lnTo>
                <a:lnTo>
                  <a:pt x="3002" y="3188"/>
                </a:lnTo>
                <a:lnTo>
                  <a:pt x="3002" y="3193"/>
                </a:lnTo>
                <a:lnTo>
                  <a:pt x="3002" y="3200"/>
                </a:lnTo>
                <a:lnTo>
                  <a:pt x="3007" y="3202"/>
                </a:lnTo>
                <a:lnTo>
                  <a:pt x="3009" y="3205"/>
                </a:lnTo>
                <a:lnTo>
                  <a:pt x="3014" y="3210"/>
                </a:lnTo>
                <a:lnTo>
                  <a:pt x="3019" y="3219"/>
                </a:lnTo>
                <a:lnTo>
                  <a:pt x="3016" y="3228"/>
                </a:lnTo>
                <a:lnTo>
                  <a:pt x="3009" y="3236"/>
                </a:lnTo>
                <a:lnTo>
                  <a:pt x="3002" y="3233"/>
                </a:lnTo>
                <a:lnTo>
                  <a:pt x="2995" y="3236"/>
                </a:lnTo>
                <a:lnTo>
                  <a:pt x="2979" y="3226"/>
                </a:lnTo>
                <a:lnTo>
                  <a:pt x="2971" y="3231"/>
                </a:lnTo>
                <a:lnTo>
                  <a:pt x="2967" y="3233"/>
                </a:lnTo>
                <a:lnTo>
                  <a:pt x="2960" y="3236"/>
                </a:lnTo>
                <a:lnTo>
                  <a:pt x="2957" y="3238"/>
                </a:lnTo>
                <a:lnTo>
                  <a:pt x="2955" y="3245"/>
                </a:lnTo>
                <a:lnTo>
                  <a:pt x="2957" y="3247"/>
                </a:lnTo>
                <a:lnTo>
                  <a:pt x="2960" y="3250"/>
                </a:lnTo>
                <a:lnTo>
                  <a:pt x="2962" y="3257"/>
                </a:lnTo>
                <a:lnTo>
                  <a:pt x="2950" y="3252"/>
                </a:lnTo>
                <a:lnTo>
                  <a:pt x="2936" y="3247"/>
                </a:lnTo>
                <a:lnTo>
                  <a:pt x="2927" y="3238"/>
                </a:lnTo>
                <a:lnTo>
                  <a:pt x="2919" y="3226"/>
                </a:lnTo>
                <a:lnTo>
                  <a:pt x="2919" y="3200"/>
                </a:lnTo>
                <a:lnTo>
                  <a:pt x="2919" y="3193"/>
                </a:lnTo>
                <a:lnTo>
                  <a:pt x="2917" y="3188"/>
                </a:lnTo>
                <a:lnTo>
                  <a:pt x="2912" y="3181"/>
                </a:lnTo>
                <a:lnTo>
                  <a:pt x="2908" y="3174"/>
                </a:lnTo>
                <a:lnTo>
                  <a:pt x="2903" y="3172"/>
                </a:lnTo>
                <a:lnTo>
                  <a:pt x="2903" y="3174"/>
                </a:lnTo>
                <a:lnTo>
                  <a:pt x="2912" y="3188"/>
                </a:lnTo>
                <a:lnTo>
                  <a:pt x="2915" y="3193"/>
                </a:lnTo>
                <a:lnTo>
                  <a:pt x="2917" y="3224"/>
                </a:lnTo>
                <a:lnTo>
                  <a:pt x="2922" y="3238"/>
                </a:lnTo>
                <a:lnTo>
                  <a:pt x="2931" y="3245"/>
                </a:lnTo>
                <a:lnTo>
                  <a:pt x="2941" y="3252"/>
                </a:lnTo>
                <a:lnTo>
                  <a:pt x="2948" y="3259"/>
                </a:lnTo>
                <a:lnTo>
                  <a:pt x="2936" y="3264"/>
                </a:lnTo>
                <a:lnTo>
                  <a:pt x="2891" y="3266"/>
                </a:lnTo>
                <a:lnTo>
                  <a:pt x="2879" y="3262"/>
                </a:lnTo>
                <a:lnTo>
                  <a:pt x="2870" y="3259"/>
                </a:lnTo>
                <a:lnTo>
                  <a:pt x="2870" y="3254"/>
                </a:lnTo>
                <a:lnTo>
                  <a:pt x="2872" y="3247"/>
                </a:lnTo>
                <a:lnTo>
                  <a:pt x="2874" y="3238"/>
                </a:lnTo>
                <a:lnTo>
                  <a:pt x="2874" y="3231"/>
                </a:lnTo>
                <a:lnTo>
                  <a:pt x="2865" y="3226"/>
                </a:lnTo>
                <a:lnTo>
                  <a:pt x="2851" y="3224"/>
                </a:lnTo>
                <a:lnTo>
                  <a:pt x="2756" y="3226"/>
                </a:lnTo>
                <a:lnTo>
                  <a:pt x="2749" y="3224"/>
                </a:lnTo>
                <a:lnTo>
                  <a:pt x="2742" y="3221"/>
                </a:lnTo>
                <a:lnTo>
                  <a:pt x="2740" y="3219"/>
                </a:lnTo>
                <a:lnTo>
                  <a:pt x="2737" y="3214"/>
                </a:lnTo>
                <a:lnTo>
                  <a:pt x="2730" y="3193"/>
                </a:lnTo>
                <a:lnTo>
                  <a:pt x="2730" y="3191"/>
                </a:lnTo>
                <a:lnTo>
                  <a:pt x="2721" y="3186"/>
                </a:lnTo>
                <a:lnTo>
                  <a:pt x="2704" y="3183"/>
                </a:lnTo>
                <a:lnTo>
                  <a:pt x="2685" y="3188"/>
                </a:lnTo>
                <a:lnTo>
                  <a:pt x="2673" y="3193"/>
                </a:lnTo>
                <a:lnTo>
                  <a:pt x="2678" y="3188"/>
                </a:lnTo>
                <a:lnTo>
                  <a:pt x="2685" y="3183"/>
                </a:lnTo>
                <a:lnTo>
                  <a:pt x="2699" y="3183"/>
                </a:lnTo>
                <a:lnTo>
                  <a:pt x="2706" y="3181"/>
                </a:lnTo>
                <a:lnTo>
                  <a:pt x="2711" y="3179"/>
                </a:lnTo>
                <a:lnTo>
                  <a:pt x="2716" y="3174"/>
                </a:lnTo>
                <a:lnTo>
                  <a:pt x="2718" y="3167"/>
                </a:lnTo>
                <a:lnTo>
                  <a:pt x="2702" y="3169"/>
                </a:lnTo>
                <a:lnTo>
                  <a:pt x="2692" y="3174"/>
                </a:lnTo>
                <a:lnTo>
                  <a:pt x="2678" y="3183"/>
                </a:lnTo>
                <a:lnTo>
                  <a:pt x="2659" y="3191"/>
                </a:lnTo>
                <a:lnTo>
                  <a:pt x="2652" y="3198"/>
                </a:lnTo>
                <a:lnTo>
                  <a:pt x="2631" y="3214"/>
                </a:lnTo>
                <a:lnTo>
                  <a:pt x="2631" y="3219"/>
                </a:lnTo>
                <a:lnTo>
                  <a:pt x="2628" y="3226"/>
                </a:lnTo>
                <a:lnTo>
                  <a:pt x="2626" y="3231"/>
                </a:lnTo>
                <a:lnTo>
                  <a:pt x="2600" y="3243"/>
                </a:lnTo>
                <a:lnTo>
                  <a:pt x="2600" y="3245"/>
                </a:lnTo>
                <a:lnTo>
                  <a:pt x="2609" y="3245"/>
                </a:lnTo>
                <a:lnTo>
                  <a:pt x="2621" y="3238"/>
                </a:lnTo>
                <a:lnTo>
                  <a:pt x="2635" y="3224"/>
                </a:lnTo>
                <a:lnTo>
                  <a:pt x="2652" y="3205"/>
                </a:lnTo>
                <a:lnTo>
                  <a:pt x="2659" y="3198"/>
                </a:lnTo>
                <a:lnTo>
                  <a:pt x="2671" y="3193"/>
                </a:lnTo>
                <a:lnTo>
                  <a:pt x="2671" y="3195"/>
                </a:lnTo>
                <a:lnTo>
                  <a:pt x="2612" y="3250"/>
                </a:lnTo>
                <a:lnTo>
                  <a:pt x="2576" y="3271"/>
                </a:lnTo>
                <a:lnTo>
                  <a:pt x="2567" y="3281"/>
                </a:lnTo>
                <a:lnTo>
                  <a:pt x="2543" y="3311"/>
                </a:lnTo>
                <a:lnTo>
                  <a:pt x="2536" y="3316"/>
                </a:lnTo>
                <a:lnTo>
                  <a:pt x="2524" y="3309"/>
                </a:lnTo>
                <a:lnTo>
                  <a:pt x="2517" y="3311"/>
                </a:lnTo>
                <a:lnTo>
                  <a:pt x="2505" y="3318"/>
                </a:lnTo>
                <a:lnTo>
                  <a:pt x="2465" y="3352"/>
                </a:lnTo>
                <a:lnTo>
                  <a:pt x="2460" y="3359"/>
                </a:lnTo>
                <a:lnTo>
                  <a:pt x="2458" y="3363"/>
                </a:lnTo>
                <a:lnTo>
                  <a:pt x="2456" y="3370"/>
                </a:lnTo>
                <a:lnTo>
                  <a:pt x="2453" y="3375"/>
                </a:lnTo>
                <a:lnTo>
                  <a:pt x="2446" y="3382"/>
                </a:lnTo>
                <a:lnTo>
                  <a:pt x="2441" y="3387"/>
                </a:lnTo>
                <a:lnTo>
                  <a:pt x="2439" y="3392"/>
                </a:lnTo>
                <a:lnTo>
                  <a:pt x="2432" y="3406"/>
                </a:lnTo>
                <a:lnTo>
                  <a:pt x="2430" y="3406"/>
                </a:lnTo>
                <a:lnTo>
                  <a:pt x="2427" y="3404"/>
                </a:lnTo>
                <a:lnTo>
                  <a:pt x="2425" y="3401"/>
                </a:lnTo>
                <a:lnTo>
                  <a:pt x="2420" y="3399"/>
                </a:lnTo>
                <a:lnTo>
                  <a:pt x="2420" y="3396"/>
                </a:lnTo>
                <a:lnTo>
                  <a:pt x="2427" y="3392"/>
                </a:lnTo>
                <a:lnTo>
                  <a:pt x="2430" y="3389"/>
                </a:lnTo>
                <a:lnTo>
                  <a:pt x="2427" y="3387"/>
                </a:lnTo>
                <a:lnTo>
                  <a:pt x="2420" y="3387"/>
                </a:lnTo>
                <a:lnTo>
                  <a:pt x="2415" y="3389"/>
                </a:lnTo>
                <a:lnTo>
                  <a:pt x="2415" y="3392"/>
                </a:lnTo>
                <a:lnTo>
                  <a:pt x="2418" y="3404"/>
                </a:lnTo>
                <a:lnTo>
                  <a:pt x="2423" y="3411"/>
                </a:lnTo>
                <a:lnTo>
                  <a:pt x="2427" y="3413"/>
                </a:lnTo>
                <a:lnTo>
                  <a:pt x="2430" y="3418"/>
                </a:lnTo>
                <a:lnTo>
                  <a:pt x="2430" y="3423"/>
                </a:lnTo>
                <a:lnTo>
                  <a:pt x="2423" y="3430"/>
                </a:lnTo>
                <a:lnTo>
                  <a:pt x="2423" y="3434"/>
                </a:lnTo>
                <a:lnTo>
                  <a:pt x="2423" y="3444"/>
                </a:lnTo>
                <a:lnTo>
                  <a:pt x="2420" y="3451"/>
                </a:lnTo>
                <a:lnTo>
                  <a:pt x="2420" y="3453"/>
                </a:lnTo>
                <a:lnTo>
                  <a:pt x="2418" y="3456"/>
                </a:lnTo>
                <a:lnTo>
                  <a:pt x="2415" y="3460"/>
                </a:lnTo>
                <a:lnTo>
                  <a:pt x="2415" y="3463"/>
                </a:lnTo>
                <a:lnTo>
                  <a:pt x="2411" y="3463"/>
                </a:lnTo>
                <a:lnTo>
                  <a:pt x="2408" y="3458"/>
                </a:lnTo>
                <a:lnTo>
                  <a:pt x="2411" y="3456"/>
                </a:lnTo>
                <a:lnTo>
                  <a:pt x="2415" y="3446"/>
                </a:lnTo>
                <a:lnTo>
                  <a:pt x="2408" y="3449"/>
                </a:lnTo>
                <a:lnTo>
                  <a:pt x="2406" y="3453"/>
                </a:lnTo>
                <a:lnTo>
                  <a:pt x="2406" y="3460"/>
                </a:lnTo>
                <a:lnTo>
                  <a:pt x="2411" y="3465"/>
                </a:lnTo>
                <a:lnTo>
                  <a:pt x="2418" y="3472"/>
                </a:lnTo>
                <a:lnTo>
                  <a:pt x="2420" y="3477"/>
                </a:lnTo>
                <a:lnTo>
                  <a:pt x="2415" y="3482"/>
                </a:lnTo>
                <a:lnTo>
                  <a:pt x="2413" y="3482"/>
                </a:lnTo>
                <a:lnTo>
                  <a:pt x="2408" y="3479"/>
                </a:lnTo>
                <a:lnTo>
                  <a:pt x="2406" y="3479"/>
                </a:lnTo>
                <a:lnTo>
                  <a:pt x="2406" y="3482"/>
                </a:lnTo>
                <a:lnTo>
                  <a:pt x="2406" y="3491"/>
                </a:lnTo>
                <a:lnTo>
                  <a:pt x="2404" y="3494"/>
                </a:lnTo>
                <a:lnTo>
                  <a:pt x="2401" y="3496"/>
                </a:lnTo>
                <a:lnTo>
                  <a:pt x="2389" y="3510"/>
                </a:lnTo>
                <a:lnTo>
                  <a:pt x="2392" y="3512"/>
                </a:lnTo>
                <a:lnTo>
                  <a:pt x="2394" y="3517"/>
                </a:lnTo>
                <a:lnTo>
                  <a:pt x="2397" y="3522"/>
                </a:lnTo>
                <a:lnTo>
                  <a:pt x="2399" y="3522"/>
                </a:lnTo>
                <a:lnTo>
                  <a:pt x="2404" y="3522"/>
                </a:lnTo>
                <a:lnTo>
                  <a:pt x="2413" y="3524"/>
                </a:lnTo>
                <a:lnTo>
                  <a:pt x="2415" y="3527"/>
                </a:lnTo>
                <a:lnTo>
                  <a:pt x="2418" y="3529"/>
                </a:lnTo>
                <a:lnTo>
                  <a:pt x="2420" y="3538"/>
                </a:lnTo>
                <a:lnTo>
                  <a:pt x="2420" y="3546"/>
                </a:lnTo>
                <a:lnTo>
                  <a:pt x="2420" y="3553"/>
                </a:lnTo>
                <a:lnTo>
                  <a:pt x="2418" y="3574"/>
                </a:lnTo>
                <a:lnTo>
                  <a:pt x="2418" y="3576"/>
                </a:lnTo>
                <a:lnTo>
                  <a:pt x="2415" y="3576"/>
                </a:lnTo>
                <a:lnTo>
                  <a:pt x="2411" y="3569"/>
                </a:lnTo>
                <a:lnTo>
                  <a:pt x="2408" y="3574"/>
                </a:lnTo>
                <a:lnTo>
                  <a:pt x="2408" y="3579"/>
                </a:lnTo>
                <a:lnTo>
                  <a:pt x="2408" y="3581"/>
                </a:lnTo>
                <a:lnTo>
                  <a:pt x="2411" y="3586"/>
                </a:lnTo>
                <a:lnTo>
                  <a:pt x="2413" y="3586"/>
                </a:lnTo>
                <a:lnTo>
                  <a:pt x="2418" y="3586"/>
                </a:lnTo>
                <a:lnTo>
                  <a:pt x="2418" y="3586"/>
                </a:lnTo>
                <a:lnTo>
                  <a:pt x="2420" y="3588"/>
                </a:lnTo>
                <a:lnTo>
                  <a:pt x="2420" y="3593"/>
                </a:lnTo>
                <a:lnTo>
                  <a:pt x="2425" y="3626"/>
                </a:lnTo>
                <a:lnTo>
                  <a:pt x="2427" y="3633"/>
                </a:lnTo>
                <a:lnTo>
                  <a:pt x="2451" y="3654"/>
                </a:lnTo>
                <a:lnTo>
                  <a:pt x="2460" y="3669"/>
                </a:lnTo>
                <a:lnTo>
                  <a:pt x="2463" y="3681"/>
                </a:lnTo>
                <a:lnTo>
                  <a:pt x="2460" y="3683"/>
                </a:lnTo>
                <a:lnTo>
                  <a:pt x="2439" y="3688"/>
                </a:lnTo>
                <a:lnTo>
                  <a:pt x="2432" y="3688"/>
                </a:lnTo>
                <a:lnTo>
                  <a:pt x="2425" y="3688"/>
                </a:lnTo>
                <a:lnTo>
                  <a:pt x="2418" y="3685"/>
                </a:lnTo>
                <a:lnTo>
                  <a:pt x="2413" y="3683"/>
                </a:lnTo>
                <a:lnTo>
                  <a:pt x="2411" y="3681"/>
                </a:lnTo>
                <a:lnTo>
                  <a:pt x="2408" y="3676"/>
                </a:lnTo>
                <a:lnTo>
                  <a:pt x="2406" y="3671"/>
                </a:lnTo>
                <a:lnTo>
                  <a:pt x="2404" y="3671"/>
                </a:lnTo>
                <a:lnTo>
                  <a:pt x="2394" y="3671"/>
                </a:lnTo>
                <a:lnTo>
                  <a:pt x="2392" y="3671"/>
                </a:lnTo>
                <a:lnTo>
                  <a:pt x="2385" y="3673"/>
                </a:lnTo>
                <a:lnTo>
                  <a:pt x="2375" y="3671"/>
                </a:lnTo>
                <a:lnTo>
                  <a:pt x="2366" y="3678"/>
                </a:lnTo>
                <a:lnTo>
                  <a:pt x="2361" y="3681"/>
                </a:lnTo>
                <a:lnTo>
                  <a:pt x="2354" y="3681"/>
                </a:lnTo>
                <a:lnTo>
                  <a:pt x="2349" y="3681"/>
                </a:lnTo>
                <a:lnTo>
                  <a:pt x="2344" y="3683"/>
                </a:lnTo>
                <a:lnTo>
                  <a:pt x="2335" y="3692"/>
                </a:lnTo>
                <a:lnTo>
                  <a:pt x="2330" y="3697"/>
                </a:lnTo>
                <a:lnTo>
                  <a:pt x="2323" y="3697"/>
                </a:lnTo>
                <a:lnTo>
                  <a:pt x="2311" y="3697"/>
                </a:lnTo>
                <a:lnTo>
                  <a:pt x="2304" y="3697"/>
                </a:lnTo>
                <a:lnTo>
                  <a:pt x="2300" y="3699"/>
                </a:lnTo>
                <a:lnTo>
                  <a:pt x="2285" y="3711"/>
                </a:lnTo>
                <a:lnTo>
                  <a:pt x="2283" y="3716"/>
                </a:lnTo>
                <a:lnTo>
                  <a:pt x="2288" y="3723"/>
                </a:lnTo>
                <a:lnTo>
                  <a:pt x="2292" y="3728"/>
                </a:lnTo>
                <a:lnTo>
                  <a:pt x="2292" y="3730"/>
                </a:lnTo>
                <a:lnTo>
                  <a:pt x="2283" y="3730"/>
                </a:lnTo>
                <a:lnTo>
                  <a:pt x="2276" y="3728"/>
                </a:lnTo>
                <a:lnTo>
                  <a:pt x="2262" y="3725"/>
                </a:lnTo>
                <a:lnTo>
                  <a:pt x="2255" y="3725"/>
                </a:lnTo>
                <a:lnTo>
                  <a:pt x="2252" y="3728"/>
                </a:lnTo>
                <a:lnTo>
                  <a:pt x="2250" y="3735"/>
                </a:lnTo>
                <a:lnTo>
                  <a:pt x="2247" y="3737"/>
                </a:lnTo>
                <a:lnTo>
                  <a:pt x="2245" y="3737"/>
                </a:lnTo>
                <a:lnTo>
                  <a:pt x="2243" y="3735"/>
                </a:lnTo>
                <a:lnTo>
                  <a:pt x="2236" y="3733"/>
                </a:lnTo>
                <a:lnTo>
                  <a:pt x="2229" y="3730"/>
                </a:lnTo>
                <a:lnTo>
                  <a:pt x="2224" y="3725"/>
                </a:lnTo>
                <a:lnTo>
                  <a:pt x="2217" y="3718"/>
                </a:lnTo>
                <a:lnTo>
                  <a:pt x="2214" y="3714"/>
                </a:lnTo>
                <a:lnTo>
                  <a:pt x="2210" y="3714"/>
                </a:lnTo>
                <a:lnTo>
                  <a:pt x="2200" y="3711"/>
                </a:lnTo>
                <a:lnTo>
                  <a:pt x="2181" y="3702"/>
                </a:lnTo>
                <a:lnTo>
                  <a:pt x="2179" y="3699"/>
                </a:lnTo>
                <a:lnTo>
                  <a:pt x="2169" y="3695"/>
                </a:lnTo>
                <a:lnTo>
                  <a:pt x="2160" y="3697"/>
                </a:lnTo>
                <a:lnTo>
                  <a:pt x="2141" y="3702"/>
                </a:lnTo>
                <a:lnTo>
                  <a:pt x="2124" y="3702"/>
                </a:lnTo>
                <a:lnTo>
                  <a:pt x="2120" y="3704"/>
                </a:lnTo>
                <a:lnTo>
                  <a:pt x="2117" y="3707"/>
                </a:lnTo>
                <a:lnTo>
                  <a:pt x="2117" y="3714"/>
                </a:lnTo>
                <a:lnTo>
                  <a:pt x="2115" y="3716"/>
                </a:lnTo>
                <a:lnTo>
                  <a:pt x="2108" y="3721"/>
                </a:lnTo>
                <a:lnTo>
                  <a:pt x="2103" y="3728"/>
                </a:lnTo>
                <a:lnTo>
                  <a:pt x="2098" y="3730"/>
                </a:lnTo>
                <a:lnTo>
                  <a:pt x="2094" y="3730"/>
                </a:lnTo>
                <a:lnTo>
                  <a:pt x="2084" y="3733"/>
                </a:lnTo>
                <a:lnTo>
                  <a:pt x="2082" y="3730"/>
                </a:lnTo>
                <a:lnTo>
                  <a:pt x="2077" y="3728"/>
                </a:lnTo>
                <a:lnTo>
                  <a:pt x="2070" y="3723"/>
                </a:lnTo>
                <a:lnTo>
                  <a:pt x="2068" y="3716"/>
                </a:lnTo>
                <a:lnTo>
                  <a:pt x="2063" y="3702"/>
                </a:lnTo>
                <a:lnTo>
                  <a:pt x="2058" y="3695"/>
                </a:lnTo>
                <a:lnTo>
                  <a:pt x="2053" y="3692"/>
                </a:lnTo>
                <a:lnTo>
                  <a:pt x="2049" y="3692"/>
                </a:lnTo>
                <a:lnTo>
                  <a:pt x="2039" y="3690"/>
                </a:lnTo>
                <a:lnTo>
                  <a:pt x="2023" y="3678"/>
                </a:lnTo>
                <a:lnTo>
                  <a:pt x="2016" y="3676"/>
                </a:lnTo>
                <a:lnTo>
                  <a:pt x="1997" y="3673"/>
                </a:lnTo>
                <a:lnTo>
                  <a:pt x="1990" y="3671"/>
                </a:lnTo>
                <a:lnTo>
                  <a:pt x="1990" y="3671"/>
                </a:lnTo>
                <a:lnTo>
                  <a:pt x="1990" y="3669"/>
                </a:lnTo>
                <a:lnTo>
                  <a:pt x="1990" y="3669"/>
                </a:lnTo>
                <a:lnTo>
                  <a:pt x="1990" y="3669"/>
                </a:lnTo>
                <a:lnTo>
                  <a:pt x="1990" y="3657"/>
                </a:lnTo>
                <a:lnTo>
                  <a:pt x="1992" y="3647"/>
                </a:lnTo>
                <a:lnTo>
                  <a:pt x="1999" y="3643"/>
                </a:lnTo>
                <a:lnTo>
                  <a:pt x="2006" y="3640"/>
                </a:lnTo>
                <a:lnTo>
                  <a:pt x="2001" y="3636"/>
                </a:lnTo>
                <a:lnTo>
                  <a:pt x="1994" y="3633"/>
                </a:lnTo>
                <a:lnTo>
                  <a:pt x="1990" y="3631"/>
                </a:lnTo>
                <a:lnTo>
                  <a:pt x="1992" y="3621"/>
                </a:lnTo>
                <a:lnTo>
                  <a:pt x="1956" y="3619"/>
                </a:lnTo>
                <a:lnTo>
                  <a:pt x="1954" y="3617"/>
                </a:lnTo>
                <a:lnTo>
                  <a:pt x="1935" y="3607"/>
                </a:lnTo>
                <a:lnTo>
                  <a:pt x="1930" y="3607"/>
                </a:lnTo>
                <a:lnTo>
                  <a:pt x="1921" y="3610"/>
                </a:lnTo>
                <a:lnTo>
                  <a:pt x="1911" y="3610"/>
                </a:lnTo>
                <a:lnTo>
                  <a:pt x="1907" y="3626"/>
                </a:lnTo>
                <a:lnTo>
                  <a:pt x="1900" y="3631"/>
                </a:lnTo>
                <a:lnTo>
                  <a:pt x="1895" y="3624"/>
                </a:lnTo>
                <a:lnTo>
                  <a:pt x="1890" y="3610"/>
                </a:lnTo>
                <a:lnTo>
                  <a:pt x="1883" y="3600"/>
                </a:lnTo>
                <a:lnTo>
                  <a:pt x="1878" y="3591"/>
                </a:lnTo>
                <a:lnTo>
                  <a:pt x="1876" y="3591"/>
                </a:lnTo>
                <a:lnTo>
                  <a:pt x="1874" y="3591"/>
                </a:lnTo>
                <a:lnTo>
                  <a:pt x="1871" y="3588"/>
                </a:lnTo>
                <a:lnTo>
                  <a:pt x="1874" y="3581"/>
                </a:lnTo>
                <a:lnTo>
                  <a:pt x="1864" y="3581"/>
                </a:lnTo>
                <a:lnTo>
                  <a:pt x="1826" y="3581"/>
                </a:lnTo>
                <a:lnTo>
                  <a:pt x="1817" y="3583"/>
                </a:lnTo>
                <a:lnTo>
                  <a:pt x="1812" y="3583"/>
                </a:lnTo>
                <a:lnTo>
                  <a:pt x="1807" y="3579"/>
                </a:lnTo>
                <a:lnTo>
                  <a:pt x="1803" y="3574"/>
                </a:lnTo>
                <a:lnTo>
                  <a:pt x="1800" y="3567"/>
                </a:lnTo>
                <a:lnTo>
                  <a:pt x="1798" y="3562"/>
                </a:lnTo>
                <a:lnTo>
                  <a:pt x="1793" y="3557"/>
                </a:lnTo>
                <a:lnTo>
                  <a:pt x="1786" y="3555"/>
                </a:lnTo>
                <a:lnTo>
                  <a:pt x="1760" y="3553"/>
                </a:lnTo>
                <a:lnTo>
                  <a:pt x="1758" y="3550"/>
                </a:lnTo>
                <a:lnTo>
                  <a:pt x="1751" y="3548"/>
                </a:lnTo>
                <a:lnTo>
                  <a:pt x="1748" y="3546"/>
                </a:lnTo>
                <a:lnTo>
                  <a:pt x="1746" y="3548"/>
                </a:lnTo>
                <a:lnTo>
                  <a:pt x="1743" y="3550"/>
                </a:lnTo>
                <a:lnTo>
                  <a:pt x="1739" y="3550"/>
                </a:lnTo>
                <a:lnTo>
                  <a:pt x="1736" y="3550"/>
                </a:lnTo>
                <a:lnTo>
                  <a:pt x="1732" y="3546"/>
                </a:lnTo>
                <a:lnTo>
                  <a:pt x="1729" y="3543"/>
                </a:lnTo>
                <a:lnTo>
                  <a:pt x="1720" y="3538"/>
                </a:lnTo>
                <a:lnTo>
                  <a:pt x="1706" y="3531"/>
                </a:lnTo>
                <a:lnTo>
                  <a:pt x="1701" y="3531"/>
                </a:lnTo>
                <a:lnTo>
                  <a:pt x="1694" y="3531"/>
                </a:lnTo>
                <a:lnTo>
                  <a:pt x="1689" y="3529"/>
                </a:lnTo>
                <a:lnTo>
                  <a:pt x="1677" y="3527"/>
                </a:lnTo>
                <a:lnTo>
                  <a:pt x="1673" y="3524"/>
                </a:lnTo>
                <a:lnTo>
                  <a:pt x="1663" y="3527"/>
                </a:lnTo>
                <a:lnTo>
                  <a:pt x="1656" y="3529"/>
                </a:lnTo>
                <a:lnTo>
                  <a:pt x="1656" y="3536"/>
                </a:lnTo>
                <a:lnTo>
                  <a:pt x="1656" y="3543"/>
                </a:lnTo>
                <a:lnTo>
                  <a:pt x="1651" y="3557"/>
                </a:lnTo>
                <a:lnTo>
                  <a:pt x="1656" y="3562"/>
                </a:lnTo>
                <a:lnTo>
                  <a:pt x="1654" y="3562"/>
                </a:lnTo>
                <a:lnTo>
                  <a:pt x="1651" y="3565"/>
                </a:lnTo>
                <a:lnTo>
                  <a:pt x="1649" y="3569"/>
                </a:lnTo>
                <a:lnTo>
                  <a:pt x="1654" y="3572"/>
                </a:lnTo>
                <a:lnTo>
                  <a:pt x="1658" y="3576"/>
                </a:lnTo>
                <a:lnTo>
                  <a:pt x="1661" y="3581"/>
                </a:lnTo>
                <a:lnTo>
                  <a:pt x="1661" y="3588"/>
                </a:lnTo>
                <a:lnTo>
                  <a:pt x="1658" y="3593"/>
                </a:lnTo>
                <a:lnTo>
                  <a:pt x="1654" y="3595"/>
                </a:lnTo>
                <a:lnTo>
                  <a:pt x="1642" y="3593"/>
                </a:lnTo>
                <a:lnTo>
                  <a:pt x="1604" y="3595"/>
                </a:lnTo>
                <a:lnTo>
                  <a:pt x="1597" y="3593"/>
                </a:lnTo>
                <a:lnTo>
                  <a:pt x="1585" y="3595"/>
                </a:lnTo>
                <a:lnTo>
                  <a:pt x="1580" y="3595"/>
                </a:lnTo>
                <a:lnTo>
                  <a:pt x="1573" y="3595"/>
                </a:lnTo>
                <a:lnTo>
                  <a:pt x="1571" y="3593"/>
                </a:lnTo>
                <a:lnTo>
                  <a:pt x="1571" y="3593"/>
                </a:lnTo>
                <a:lnTo>
                  <a:pt x="1571" y="3591"/>
                </a:lnTo>
                <a:lnTo>
                  <a:pt x="1571" y="3588"/>
                </a:lnTo>
                <a:lnTo>
                  <a:pt x="1561" y="3581"/>
                </a:lnTo>
                <a:lnTo>
                  <a:pt x="1557" y="3583"/>
                </a:lnTo>
                <a:lnTo>
                  <a:pt x="1552" y="3588"/>
                </a:lnTo>
                <a:lnTo>
                  <a:pt x="1542" y="3602"/>
                </a:lnTo>
                <a:lnTo>
                  <a:pt x="1538" y="3602"/>
                </a:lnTo>
                <a:lnTo>
                  <a:pt x="1533" y="3595"/>
                </a:lnTo>
                <a:lnTo>
                  <a:pt x="1526" y="3583"/>
                </a:lnTo>
                <a:lnTo>
                  <a:pt x="1521" y="3581"/>
                </a:lnTo>
                <a:lnTo>
                  <a:pt x="1505" y="3579"/>
                </a:lnTo>
                <a:lnTo>
                  <a:pt x="1500" y="3579"/>
                </a:lnTo>
                <a:lnTo>
                  <a:pt x="1493" y="3583"/>
                </a:lnTo>
                <a:lnTo>
                  <a:pt x="1474" y="3586"/>
                </a:lnTo>
                <a:lnTo>
                  <a:pt x="1450" y="3595"/>
                </a:lnTo>
                <a:lnTo>
                  <a:pt x="1438" y="3595"/>
                </a:lnTo>
                <a:lnTo>
                  <a:pt x="1426" y="3591"/>
                </a:lnTo>
                <a:lnTo>
                  <a:pt x="1424" y="3588"/>
                </a:lnTo>
                <a:lnTo>
                  <a:pt x="1424" y="3586"/>
                </a:lnTo>
                <a:lnTo>
                  <a:pt x="1422" y="3583"/>
                </a:lnTo>
                <a:lnTo>
                  <a:pt x="1417" y="3583"/>
                </a:lnTo>
                <a:lnTo>
                  <a:pt x="1415" y="3581"/>
                </a:lnTo>
                <a:lnTo>
                  <a:pt x="1412" y="3579"/>
                </a:lnTo>
                <a:lnTo>
                  <a:pt x="1412" y="3576"/>
                </a:lnTo>
                <a:lnTo>
                  <a:pt x="1410" y="3574"/>
                </a:lnTo>
                <a:lnTo>
                  <a:pt x="1405" y="3569"/>
                </a:lnTo>
                <a:lnTo>
                  <a:pt x="1400" y="3562"/>
                </a:lnTo>
                <a:lnTo>
                  <a:pt x="1400" y="3555"/>
                </a:lnTo>
                <a:lnTo>
                  <a:pt x="1400" y="3548"/>
                </a:lnTo>
                <a:lnTo>
                  <a:pt x="1396" y="3550"/>
                </a:lnTo>
                <a:lnTo>
                  <a:pt x="1386" y="3553"/>
                </a:lnTo>
                <a:lnTo>
                  <a:pt x="1377" y="3553"/>
                </a:lnTo>
                <a:lnTo>
                  <a:pt x="1374" y="3543"/>
                </a:lnTo>
                <a:lnTo>
                  <a:pt x="1355" y="3531"/>
                </a:lnTo>
                <a:lnTo>
                  <a:pt x="1351" y="3529"/>
                </a:lnTo>
                <a:lnTo>
                  <a:pt x="1348" y="3531"/>
                </a:lnTo>
                <a:lnTo>
                  <a:pt x="1346" y="3536"/>
                </a:lnTo>
                <a:lnTo>
                  <a:pt x="1344" y="3536"/>
                </a:lnTo>
                <a:lnTo>
                  <a:pt x="1341" y="3534"/>
                </a:lnTo>
                <a:lnTo>
                  <a:pt x="1325" y="3546"/>
                </a:lnTo>
                <a:lnTo>
                  <a:pt x="1318" y="3550"/>
                </a:lnTo>
                <a:lnTo>
                  <a:pt x="1308" y="3550"/>
                </a:lnTo>
                <a:lnTo>
                  <a:pt x="1292" y="3543"/>
                </a:lnTo>
                <a:lnTo>
                  <a:pt x="1284" y="3543"/>
                </a:lnTo>
                <a:lnTo>
                  <a:pt x="1282" y="3553"/>
                </a:lnTo>
                <a:lnTo>
                  <a:pt x="1280" y="3553"/>
                </a:lnTo>
                <a:lnTo>
                  <a:pt x="1275" y="3557"/>
                </a:lnTo>
                <a:lnTo>
                  <a:pt x="1273" y="3557"/>
                </a:lnTo>
                <a:lnTo>
                  <a:pt x="1270" y="3555"/>
                </a:lnTo>
                <a:lnTo>
                  <a:pt x="1270" y="3553"/>
                </a:lnTo>
                <a:lnTo>
                  <a:pt x="1270" y="3550"/>
                </a:lnTo>
                <a:lnTo>
                  <a:pt x="1268" y="3548"/>
                </a:lnTo>
                <a:lnTo>
                  <a:pt x="1268" y="3548"/>
                </a:lnTo>
                <a:lnTo>
                  <a:pt x="1261" y="3548"/>
                </a:lnTo>
                <a:lnTo>
                  <a:pt x="1261" y="3546"/>
                </a:lnTo>
                <a:lnTo>
                  <a:pt x="1261" y="3543"/>
                </a:lnTo>
                <a:lnTo>
                  <a:pt x="1261" y="3543"/>
                </a:lnTo>
                <a:lnTo>
                  <a:pt x="1261" y="3541"/>
                </a:lnTo>
                <a:lnTo>
                  <a:pt x="1249" y="3524"/>
                </a:lnTo>
                <a:lnTo>
                  <a:pt x="1242" y="3520"/>
                </a:lnTo>
                <a:lnTo>
                  <a:pt x="1232" y="3512"/>
                </a:lnTo>
                <a:lnTo>
                  <a:pt x="1228" y="3512"/>
                </a:lnTo>
                <a:lnTo>
                  <a:pt x="1225" y="3512"/>
                </a:lnTo>
                <a:lnTo>
                  <a:pt x="1223" y="3512"/>
                </a:lnTo>
                <a:lnTo>
                  <a:pt x="1218" y="3510"/>
                </a:lnTo>
                <a:lnTo>
                  <a:pt x="1218" y="3505"/>
                </a:lnTo>
                <a:lnTo>
                  <a:pt x="1218" y="3503"/>
                </a:lnTo>
                <a:lnTo>
                  <a:pt x="1218" y="3501"/>
                </a:lnTo>
                <a:lnTo>
                  <a:pt x="1218" y="3498"/>
                </a:lnTo>
                <a:lnTo>
                  <a:pt x="1214" y="3482"/>
                </a:lnTo>
                <a:lnTo>
                  <a:pt x="1204" y="3479"/>
                </a:lnTo>
                <a:lnTo>
                  <a:pt x="1180" y="3484"/>
                </a:lnTo>
                <a:lnTo>
                  <a:pt x="1157" y="3482"/>
                </a:lnTo>
                <a:lnTo>
                  <a:pt x="1145" y="3477"/>
                </a:lnTo>
                <a:lnTo>
                  <a:pt x="1133" y="3470"/>
                </a:lnTo>
                <a:lnTo>
                  <a:pt x="1131" y="3465"/>
                </a:lnTo>
                <a:lnTo>
                  <a:pt x="1124" y="3463"/>
                </a:lnTo>
                <a:lnTo>
                  <a:pt x="1114" y="3460"/>
                </a:lnTo>
                <a:lnTo>
                  <a:pt x="1112" y="3460"/>
                </a:lnTo>
                <a:lnTo>
                  <a:pt x="1107" y="3456"/>
                </a:lnTo>
                <a:lnTo>
                  <a:pt x="1102" y="3456"/>
                </a:lnTo>
                <a:lnTo>
                  <a:pt x="1093" y="3456"/>
                </a:lnTo>
                <a:lnTo>
                  <a:pt x="1081" y="3449"/>
                </a:lnTo>
                <a:lnTo>
                  <a:pt x="1072" y="3441"/>
                </a:lnTo>
                <a:lnTo>
                  <a:pt x="1053" y="3437"/>
                </a:lnTo>
                <a:lnTo>
                  <a:pt x="1048" y="3434"/>
                </a:lnTo>
                <a:lnTo>
                  <a:pt x="1041" y="3427"/>
                </a:lnTo>
                <a:lnTo>
                  <a:pt x="1041" y="3423"/>
                </a:lnTo>
                <a:lnTo>
                  <a:pt x="1043" y="3418"/>
                </a:lnTo>
                <a:lnTo>
                  <a:pt x="1050" y="3411"/>
                </a:lnTo>
                <a:lnTo>
                  <a:pt x="1043" y="3408"/>
                </a:lnTo>
                <a:lnTo>
                  <a:pt x="1036" y="3411"/>
                </a:lnTo>
                <a:lnTo>
                  <a:pt x="1031" y="3418"/>
                </a:lnTo>
                <a:lnTo>
                  <a:pt x="1029" y="3427"/>
                </a:lnTo>
                <a:lnTo>
                  <a:pt x="1027" y="3437"/>
                </a:lnTo>
                <a:lnTo>
                  <a:pt x="1024" y="3444"/>
                </a:lnTo>
                <a:lnTo>
                  <a:pt x="1019" y="3444"/>
                </a:lnTo>
                <a:lnTo>
                  <a:pt x="1010" y="3444"/>
                </a:lnTo>
                <a:lnTo>
                  <a:pt x="1003" y="3441"/>
                </a:lnTo>
                <a:lnTo>
                  <a:pt x="996" y="3437"/>
                </a:lnTo>
                <a:lnTo>
                  <a:pt x="991" y="3432"/>
                </a:lnTo>
                <a:lnTo>
                  <a:pt x="986" y="3423"/>
                </a:lnTo>
                <a:lnTo>
                  <a:pt x="989" y="3418"/>
                </a:lnTo>
                <a:lnTo>
                  <a:pt x="1003" y="3404"/>
                </a:lnTo>
                <a:lnTo>
                  <a:pt x="1008" y="3399"/>
                </a:lnTo>
                <a:lnTo>
                  <a:pt x="1012" y="3385"/>
                </a:lnTo>
                <a:lnTo>
                  <a:pt x="1015" y="3368"/>
                </a:lnTo>
                <a:lnTo>
                  <a:pt x="1015" y="3354"/>
                </a:lnTo>
                <a:lnTo>
                  <a:pt x="1005" y="3344"/>
                </a:lnTo>
                <a:lnTo>
                  <a:pt x="1001" y="3344"/>
                </a:lnTo>
                <a:lnTo>
                  <a:pt x="998" y="3344"/>
                </a:lnTo>
                <a:lnTo>
                  <a:pt x="996" y="3344"/>
                </a:lnTo>
                <a:lnTo>
                  <a:pt x="982" y="3337"/>
                </a:lnTo>
                <a:lnTo>
                  <a:pt x="972" y="3335"/>
                </a:lnTo>
                <a:lnTo>
                  <a:pt x="965" y="3335"/>
                </a:lnTo>
                <a:lnTo>
                  <a:pt x="960" y="3337"/>
                </a:lnTo>
                <a:lnTo>
                  <a:pt x="958" y="3344"/>
                </a:lnTo>
                <a:lnTo>
                  <a:pt x="958" y="3349"/>
                </a:lnTo>
                <a:lnTo>
                  <a:pt x="953" y="3352"/>
                </a:lnTo>
                <a:lnTo>
                  <a:pt x="949" y="3352"/>
                </a:lnTo>
                <a:lnTo>
                  <a:pt x="946" y="3349"/>
                </a:lnTo>
                <a:lnTo>
                  <a:pt x="941" y="3349"/>
                </a:lnTo>
                <a:lnTo>
                  <a:pt x="941" y="3347"/>
                </a:lnTo>
                <a:lnTo>
                  <a:pt x="939" y="3340"/>
                </a:lnTo>
                <a:lnTo>
                  <a:pt x="939" y="3335"/>
                </a:lnTo>
                <a:lnTo>
                  <a:pt x="939" y="3333"/>
                </a:lnTo>
                <a:lnTo>
                  <a:pt x="939" y="3330"/>
                </a:lnTo>
                <a:lnTo>
                  <a:pt x="937" y="3328"/>
                </a:lnTo>
                <a:lnTo>
                  <a:pt x="930" y="3325"/>
                </a:lnTo>
                <a:lnTo>
                  <a:pt x="927" y="3325"/>
                </a:lnTo>
                <a:lnTo>
                  <a:pt x="922" y="3328"/>
                </a:lnTo>
                <a:lnTo>
                  <a:pt x="915" y="3328"/>
                </a:lnTo>
                <a:lnTo>
                  <a:pt x="911" y="3330"/>
                </a:lnTo>
                <a:lnTo>
                  <a:pt x="908" y="3330"/>
                </a:lnTo>
                <a:lnTo>
                  <a:pt x="906" y="3328"/>
                </a:lnTo>
                <a:lnTo>
                  <a:pt x="906" y="3318"/>
                </a:lnTo>
                <a:lnTo>
                  <a:pt x="901" y="3314"/>
                </a:lnTo>
                <a:lnTo>
                  <a:pt x="892" y="3309"/>
                </a:lnTo>
                <a:lnTo>
                  <a:pt x="892" y="3304"/>
                </a:lnTo>
                <a:lnTo>
                  <a:pt x="894" y="3295"/>
                </a:lnTo>
                <a:lnTo>
                  <a:pt x="894" y="3283"/>
                </a:lnTo>
                <a:lnTo>
                  <a:pt x="899" y="3288"/>
                </a:lnTo>
                <a:lnTo>
                  <a:pt x="904" y="3283"/>
                </a:lnTo>
                <a:lnTo>
                  <a:pt x="908" y="3281"/>
                </a:lnTo>
                <a:lnTo>
                  <a:pt x="937" y="3278"/>
                </a:lnTo>
                <a:lnTo>
                  <a:pt x="944" y="3276"/>
                </a:lnTo>
                <a:lnTo>
                  <a:pt x="951" y="3271"/>
                </a:lnTo>
                <a:lnTo>
                  <a:pt x="956" y="3266"/>
                </a:lnTo>
                <a:lnTo>
                  <a:pt x="958" y="3264"/>
                </a:lnTo>
                <a:lnTo>
                  <a:pt x="965" y="3250"/>
                </a:lnTo>
                <a:lnTo>
                  <a:pt x="967" y="3245"/>
                </a:lnTo>
                <a:lnTo>
                  <a:pt x="970" y="3243"/>
                </a:lnTo>
                <a:lnTo>
                  <a:pt x="986" y="3231"/>
                </a:lnTo>
                <a:lnTo>
                  <a:pt x="989" y="3224"/>
                </a:lnTo>
                <a:lnTo>
                  <a:pt x="993" y="3210"/>
                </a:lnTo>
                <a:lnTo>
                  <a:pt x="996" y="3195"/>
                </a:lnTo>
                <a:lnTo>
                  <a:pt x="1005" y="3172"/>
                </a:lnTo>
                <a:lnTo>
                  <a:pt x="1017" y="3101"/>
                </a:lnTo>
                <a:lnTo>
                  <a:pt x="1027" y="3077"/>
                </a:lnTo>
                <a:lnTo>
                  <a:pt x="1038" y="3023"/>
                </a:lnTo>
                <a:lnTo>
                  <a:pt x="1060" y="2902"/>
                </a:lnTo>
                <a:lnTo>
                  <a:pt x="1069" y="2843"/>
                </a:lnTo>
                <a:lnTo>
                  <a:pt x="1072" y="2814"/>
                </a:lnTo>
                <a:lnTo>
                  <a:pt x="1072" y="2810"/>
                </a:lnTo>
                <a:lnTo>
                  <a:pt x="1069" y="2798"/>
                </a:lnTo>
                <a:lnTo>
                  <a:pt x="1069" y="2793"/>
                </a:lnTo>
                <a:lnTo>
                  <a:pt x="1076" y="2781"/>
                </a:lnTo>
                <a:lnTo>
                  <a:pt x="1079" y="2779"/>
                </a:lnTo>
                <a:lnTo>
                  <a:pt x="1079" y="2774"/>
                </a:lnTo>
                <a:lnTo>
                  <a:pt x="1083" y="2755"/>
                </a:lnTo>
                <a:lnTo>
                  <a:pt x="1090" y="2746"/>
                </a:lnTo>
                <a:lnTo>
                  <a:pt x="1098" y="2746"/>
                </a:lnTo>
                <a:lnTo>
                  <a:pt x="1116" y="2750"/>
                </a:lnTo>
                <a:lnTo>
                  <a:pt x="1128" y="2750"/>
                </a:lnTo>
                <a:lnTo>
                  <a:pt x="1133" y="2746"/>
                </a:lnTo>
                <a:lnTo>
                  <a:pt x="1133" y="2738"/>
                </a:lnTo>
                <a:lnTo>
                  <a:pt x="1126" y="2731"/>
                </a:lnTo>
                <a:lnTo>
                  <a:pt x="1131" y="2731"/>
                </a:lnTo>
                <a:lnTo>
                  <a:pt x="1128" y="2724"/>
                </a:lnTo>
                <a:lnTo>
                  <a:pt x="1105" y="2703"/>
                </a:lnTo>
                <a:lnTo>
                  <a:pt x="1102" y="2701"/>
                </a:lnTo>
                <a:lnTo>
                  <a:pt x="1100" y="2701"/>
                </a:lnTo>
                <a:lnTo>
                  <a:pt x="1100" y="2698"/>
                </a:lnTo>
                <a:lnTo>
                  <a:pt x="1098" y="2698"/>
                </a:lnTo>
                <a:lnTo>
                  <a:pt x="1095" y="2698"/>
                </a:lnTo>
                <a:lnTo>
                  <a:pt x="1095" y="2701"/>
                </a:lnTo>
                <a:lnTo>
                  <a:pt x="1093" y="2701"/>
                </a:lnTo>
                <a:lnTo>
                  <a:pt x="1093" y="2703"/>
                </a:lnTo>
                <a:lnTo>
                  <a:pt x="1093" y="2703"/>
                </a:lnTo>
                <a:lnTo>
                  <a:pt x="1090" y="2708"/>
                </a:lnTo>
                <a:lnTo>
                  <a:pt x="1076" y="2729"/>
                </a:lnTo>
                <a:lnTo>
                  <a:pt x="1074" y="2748"/>
                </a:lnTo>
                <a:lnTo>
                  <a:pt x="1069" y="2757"/>
                </a:lnTo>
                <a:lnTo>
                  <a:pt x="1067" y="2762"/>
                </a:lnTo>
                <a:lnTo>
                  <a:pt x="1090" y="2552"/>
                </a:lnTo>
                <a:lnTo>
                  <a:pt x="1102" y="2485"/>
                </a:lnTo>
                <a:lnTo>
                  <a:pt x="1109" y="2395"/>
                </a:lnTo>
                <a:lnTo>
                  <a:pt x="1112" y="2388"/>
                </a:lnTo>
                <a:lnTo>
                  <a:pt x="1121" y="2367"/>
                </a:lnTo>
                <a:lnTo>
                  <a:pt x="1126" y="2360"/>
                </a:lnTo>
                <a:lnTo>
                  <a:pt x="1131" y="2360"/>
                </a:lnTo>
                <a:lnTo>
                  <a:pt x="1135" y="2360"/>
                </a:lnTo>
                <a:lnTo>
                  <a:pt x="1135" y="2362"/>
                </a:lnTo>
                <a:lnTo>
                  <a:pt x="1135" y="2367"/>
                </a:lnTo>
                <a:lnTo>
                  <a:pt x="1135" y="2372"/>
                </a:lnTo>
                <a:lnTo>
                  <a:pt x="1133" y="2372"/>
                </a:lnTo>
                <a:lnTo>
                  <a:pt x="1133" y="2374"/>
                </a:lnTo>
                <a:lnTo>
                  <a:pt x="1133" y="2376"/>
                </a:lnTo>
                <a:lnTo>
                  <a:pt x="1133" y="2379"/>
                </a:lnTo>
                <a:lnTo>
                  <a:pt x="1138" y="2383"/>
                </a:lnTo>
                <a:lnTo>
                  <a:pt x="1140" y="2388"/>
                </a:lnTo>
                <a:lnTo>
                  <a:pt x="1159" y="2402"/>
                </a:lnTo>
                <a:lnTo>
                  <a:pt x="1173" y="2412"/>
                </a:lnTo>
                <a:lnTo>
                  <a:pt x="1178" y="2412"/>
                </a:lnTo>
                <a:lnTo>
                  <a:pt x="1214" y="2454"/>
                </a:lnTo>
                <a:lnTo>
                  <a:pt x="1221" y="2466"/>
                </a:lnTo>
                <a:lnTo>
                  <a:pt x="1225" y="2478"/>
                </a:lnTo>
                <a:lnTo>
                  <a:pt x="1225" y="2488"/>
                </a:lnTo>
                <a:lnTo>
                  <a:pt x="1230" y="2504"/>
                </a:lnTo>
                <a:lnTo>
                  <a:pt x="1235" y="2542"/>
                </a:lnTo>
                <a:lnTo>
                  <a:pt x="1235" y="2547"/>
                </a:lnTo>
                <a:lnTo>
                  <a:pt x="1244" y="2573"/>
                </a:lnTo>
                <a:lnTo>
                  <a:pt x="1256" y="2587"/>
                </a:lnTo>
                <a:lnTo>
                  <a:pt x="1268" y="2599"/>
                </a:lnTo>
                <a:lnTo>
                  <a:pt x="1277" y="2604"/>
                </a:lnTo>
                <a:lnTo>
                  <a:pt x="1280" y="2606"/>
                </a:lnTo>
                <a:lnTo>
                  <a:pt x="1282" y="2613"/>
                </a:lnTo>
                <a:lnTo>
                  <a:pt x="1282" y="2615"/>
                </a:lnTo>
                <a:lnTo>
                  <a:pt x="1282" y="2623"/>
                </a:lnTo>
                <a:lnTo>
                  <a:pt x="1282" y="2632"/>
                </a:lnTo>
                <a:lnTo>
                  <a:pt x="1282" y="2641"/>
                </a:lnTo>
                <a:lnTo>
                  <a:pt x="1284" y="2649"/>
                </a:lnTo>
                <a:lnTo>
                  <a:pt x="1289" y="2651"/>
                </a:lnTo>
                <a:lnTo>
                  <a:pt x="1289" y="2644"/>
                </a:lnTo>
                <a:lnTo>
                  <a:pt x="1287" y="2632"/>
                </a:lnTo>
                <a:lnTo>
                  <a:pt x="1284" y="2627"/>
                </a:lnTo>
                <a:lnTo>
                  <a:pt x="1289" y="2615"/>
                </a:lnTo>
                <a:lnTo>
                  <a:pt x="1284" y="2606"/>
                </a:lnTo>
                <a:lnTo>
                  <a:pt x="1277" y="2599"/>
                </a:lnTo>
                <a:lnTo>
                  <a:pt x="1270" y="2594"/>
                </a:lnTo>
                <a:lnTo>
                  <a:pt x="1280" y="2596"/>
                </a:lnTo>
                <a:lnTo>
                  <a:pt x="1289" y="2596"/>
                </a:lnTo>
                <a:lnTo>
                  <a:pt x="1296" y="2601"/>
                </a:lnTo>
                <a:lnTo>
                  <a:pt x="1301" y="2606"/>
                </a:lnTo>
                <a:lnTo>
                  <a:pt x="1294" y="2594"/>
                </a:lnTo>
                <a:lnTo>
                  <a:pt x="1282" y="2587"/>
                </a:lnTo>
                <a:lnTo>
                  <a:pt x="1270" y="2582"/>
                </a:lnTo>
                <a:lnTo>
                  <a:pt x="1258" y="2575"/>
                </a:lnTo>
                <a:lnTo>
                  <a:pt x="1254" y="2563"/>
                </a:lnTo>
                <a:lnTo>
                  <a:pt x="1249" y="2549"/>
                </a:lnTo>
                <a:lnTo>
                  <a:pt x="1240" y="2469"/>
                </a:lnTo>
                <a:lnTo>
                  <a:pt x="1235" y="2452"/>
                </a:lnTo>
                <a:lnTo>
                  <a:pt x="1225" y="2424"/>
                </a:lnTo>
                <a:lnTo>
                  <a:pt x="1221" y="2412"/>
                </a:lnTo>
                <a:lnTo>
                  <a:pt x="1214" y="2402"/>
                </a:lnTo>
                <a:lnTo>
                  <a:pt x="1199" y="2386"/>
                </a:lnTo>
                <a:lnTo>
                  <a:pt x="1157" y="2353"/>
                </a:lnTo>
                <a:lnTo>
                  <a:pt x="1157" y="2353"/>
                </a:lnTo>
                <a:lnTo>
                  <a:pt x="1154" y="2343"/>
                </a:lnTo>
                <a:lnTo>
                  <a:pt x="1154" y="2341"/>
                </a:lnTo>
                <a:lnTo>
                  <a:pt x="1143" y="2338"/>
                </a:lnTo>
                <a:lnTo>
                  <a:pt x="1128" y="2322"/>
                </a:lnTo>
                <a:lnTo>
                  <a:pt x="1119" y="2317"/>
                </a:lnTo>
                <a:lnTo>
                  <a:pt x="1114" y="2317"/>
                </a:lnTo>
                <a:lnTo>
                  <a:pt x="1107" y="2315"/>
                </a:lnTo>
                <a:lnTo>
                  <a:pt x="1105" y="2310"/>
                </a:lnTo>
                <a:lnTo>
                  <a:pt x="1100" y="2305"/>
                </a:lnTo>
                <a:lnTo>
                  <a:pt x="1095" y="2301"/>
                </a:lnTo>
                <a:lnTo>
                  <a:pt x="1083" y="2303"/>
                </a:lnTo>
                <a:lnTo>
                  <a:pt x="1079" y="2301"/>
                </a:lnTo>
                <a:lnTo>
                  <a:pt x="1086" y="2270"/>
                </a:lnTo>
                <a:lnTo>
                  <a:pt x="1086" y="2265"/>
                </a:lnTo>
                <a:lnTo>
                  <a:pt x="1105" y="2258"/>
                </a:lnTo>
                <a:lnTo>
                  <a:pt x="1109" y="2260"/>
                </a:lnTo>
                <a:lnTo>
                  <a:pt x="1128" y="2282"/>
                </a:lnTo>
                <a:lnTo>
                  <a:pt x="1133" y="2284"/>
                </a:lnTo>
                <a:lnTo>
                  <a:pt x="1135" y="2289"/>
                </a:lnTo>
                <a:lnTo>
                  <a:pt x="1157" y="2298"/>
                </a:lnTo>
                <a:lnTo>
                  <a:pt x="1150" y="2291"/>
                </a:lnTo>
                <a:lnTo>
                  <a:pt x="1124" y="2267"/>
                </a:lnTo>
                <a:lnTo>
                  <a:pt x="1116" y="2258"/>
                </a:lnTo>
                <a:lnTo>
                  <a:pt x="1114" y="2256"/>
                </a:lnTo>
                <a:lnTo>
                  <a:pt x="1114" y="2251"/>
                </a:lnTo>
                <a:lnTo>
                  <a:pt x="1112" y="2244"/>
                </a:lnTo>
                <a:lnTo>
                  <a:pt x="1112" y="2237"/>
                </a:lnTo>
                <a:lnTo>
                  <a:pt x="1109" y="2232"/>
                </a:lnTo>
                <a:lnTo>
                  <a:pt x="1112" y="2232"/>
                </a:lnTo>
                <a:lnTo>
                  <a:pt x="1114" y="2230"/>
                </a:lnTo>
                <a:lnTo>
                  <a:pt x="1116" y="2227"/>
                </a:lnTo>
                <a:lnTo>
                  <a:pt x="1116" y="2225"/>
                </a:lnTo>
                <a:lnTo>
                  <a:pt x="1121" y="2220"/>
                </a:lnTo>
                <a:lnTo>
                  <a:pt x="1126" y="2218"/>
                </a:lnTo>
                <a:lnTo>
                  <a:pt x="1128" y="2218"/>
                </a:lnTo>
                <a:lnTo>
                  <a:pt x="1131" y="2218"/>
                </a:lnTo>
                <a:lnTo>
                  <a:pt x="1133" y="2218"/>
                </a:lnTo>
                <a:lnTo>
                  <a:pt x="1133" y="2213"/>
                </a:lnTo>
                <a:lnTo>
                  <a:pt x="1133" y="2208"/>
                </a:lnTo>
                <a:lnTo>
                  <a:pt x="1131" y="2204"/>
                </a:lnTo>
                <a:lnTo>
                  <a:pt x="1128" y="2201"/>
                </a:lnTo>
                <a:lnTo>
                  <a:pt x="1128" y="2199"/>
                </a:lnTo>
                <a:lnTo>
                  <a:pt x="1128" y="2196"/>
                </a:lnTo>
                <a:lnTo>
                  <a:pt x="1133" y="2194"/>
                </a:lnTo>
                <a:lnTo>
                  <a:pt x="1133" y="2192"/>
                </a:lnTo>
                <a:lnTo>
                  <a:pt x="1128" y="2189"/>
                </a:lnTo>
                <a:lnTo>
                  <a:pt x="1126" y="2182"/>
                </a:lnTo>
                <a:lnTo>
                  <a:pt x="1121" y="2168"/>
                </a:lnTo>
                <a:lnTo>
                  <a:pt x="1128" y="2173"/>
                </a:lnTo>
                <a:lnTo>
                  <a:pt x="1133" y="2173"/>
                </a:lnTo>
                <a:lnTo>
                  <a:pt x="1138" y="2170"/>
                </a:lnTo>
                <a:lnTo>
                  <a:pt x="1140" y="2163"/>
                </a:lnTo>
                <a:lnTo>
                  <a:pt x="1140" y="2161"/>
                </a:lnTo>
                <a:lnTo>
                  <a:pt x="1138" y="2159"/>
                </a:lnTo>
                <a:lnTo>
                  <a:pt x="1138" y="2156"/>
                </a:lnTo>
                <a:lnTo>
                  <a:pt x="1135" y="2154"/>
                </a:lnTo>
                <a:lnTo>
                  <a:pt x="1131" y="2152"/>
                </a:lnTo>
                <a:lnTo>
                  <a:pt x="1128" y="2149"/>
                </a:lnTo>
                <a:lnTo>
                  <a:pt x="1128" y="2144"/>
                </a:lnTo>
                <a:lnTo>
                  <a:pt x="1126" y="2140"/>
                </a:lnTo>
                <a:lnTo>
                  <a:pt x="1126" y="2135"/>
                </a:lnTo>
                <a:lnTo>
                  <a:pt x="1126" y="2133"/>
                </a:lnTo>
                <a:lnTo>
                  <a:pt x="1126" y="2133"/>
                </a:lnTo>
                <a:lnTo>
                  <a:pt x="1121" y="2130"/>
                </a:lnTo>
                <a:lnTo>
                  <a:pt x="1121" y="2130"/>
                </a:lnTo>
                <a:lnTo>
                  <a:pt x="1119" y="2128"/>
                </a:lnTo>
                <a:lnTo>
                  <a:pt x="1116" y="2128"/>
                </a:lnTo>
                <a:lnTo>
                  <a:pt x="1116" y="2125"/>
                </a:lnTo>
                <a:lnTo>
                  <a:pt x="1121" y="2121"/>
                </a:lnTo>
                <a:lnTo>
                  <a:pt x="1114" y="2116"/>
                </a:lnTo>
                <a:lnTo>
                  <a:pt x="1112" y="2116"/>
                </a:lnTo>
                <a:lnTo>
                  <a:pt x="1109" y="2116"/>
                </a:lnTo>
                <a:lnTo>
                  <a:pt x="1109" y="2114"/>
                </a:lnTo>
                <a:lnTo>
                  <a:pt x="1112" y="2111"/>
                </a:lnTo>
                <a:lnTo>
                  <a:pt x="1109" y="2109"/>
                </a:lnTo>
                <a:lnTo>
                  <a:pt x="1109" y="2109"/>
                </a:lnTo>
                <a:lnTo>
                  <a:pt x="1105" y="2109"/>
                </a:lnTo>
                <a:lnTo>
                  <a:pt x="1102" y="2109"/>
                </a:lnTo>
                <a:lnTo>
                  <a:pt x="1098" y="2109"/>
                </a:lnTo>
                <a:lnTo>
                  <a:pt x="1095" y="2109"/>
                </a:lnTo>
                <a:lnTo>
                  <a:pt x="1093" y="2104"/>
                </a:lnTo>
                <a:lnTo>
                  <a:pt x="1093" y="2102"/>
                </a:lnTo>
                <a:lnTo>
                  <a:pt x="1095" y="2097"/>
                </a:lnTo>
                <a:lnTo>
                  <a:pt x="1098" y="2095"/>
                </a:lnTo>
                <a:lnTo>
                  <a:pt x="1100" y="2092"/>
                </a:lnTo>
                <a:lnTo>
                  <a:pt x="1100" y="2083"/>
                </a:lnTo>
                <a:lnTo>
                  <a:pt x="1102" y="2078"/>
                </a:lnTo>
                <a:lnTo>
                  <a:pt x="1124" y="2066"/>
                </a:lnTo>
                <a:lnTo>
                  <a:pt x="1126" y="2062"/>
                </a:lnTo>
                <a:lnTo>
                  <a:pt x="1126" y="2057"/>
                </a:lnTo>
                <a:lnTo>
                  <a:pt x="1124" y="2054"/>
                </a:lnTo>
                <a:lnTo>
                  <a:pt x="1124" y="2047"/>
                </a:lnTo>
                <a:lnTo>
                  <a:pt x="1116" y="2038"/>
                </a:lnTo>
                <a:lnTo>
                  <a:pt x="1105" y="2038"/>
                </a:lnTo>
                <a:lnTo>
                  <a:pt x="1093" y="2043"/>
                </a:lnTo>
                <a:lnTo>
                  <a:pt x="1093" y="2057"/>
                </a:lnTo>
                <a:lnTo>
                  <a:pt x="1086" y="2054"/>
                </a:lnTo>
                <a:lnTo>
                  <a:pt x="1079" y="2047"/>
                </a:lnTo>
                <a:lnTo>
                  <a:pt x="1074" y="2040"/>
                </a:lnTo>
                <a:lnTo>
                  <a:pt x="1069" y="2038"/>
                </a:lnTo>
                <a:lnTo>
                  <a:pt x="1067" y="2038"/>
                </a:lnTo>
                <a:lnTo>
                  <a:pt x="1057" y="2031"/>
                </a:lnTo>
                <a:lnTo>
                  <a:pt x="1050" y="2026"/>
                </a:lnTo>
                <a:lnTo>
                  <a:pt x="1048" y="2024"/>
                </a:lnTo>
                <a:lnTo>
                  <a:pt x="1031" y="2028"/>
                </a:lnTo>
                <a:lnTo>
                  <a:pt x="1024" y="2028"/>
                </a:lnTo>
                <a:lnTo>
                  <a:pt x="1022" y="2019"/>
                </a:lnTo>
                <a:lnTo>
                  <a:pt x="1019" y="2010"/>
                </a:lnTo>
                <a:lnTo>
                  <a:pt x="1015" y="2000"/>
                </a:lnTo>
                <a:lnTo>
                  <a:pt x="1008" y="1995"/>
                </a:lnTo>
                <a:lnTo>
                  <a:pt x="1001" y="1993"/>
                </a:lnTo>
                <a:lnTo>
                  <a:pt x="979" y="1993"/>
                </a:lnTo>
                <a:lnTo>
                  <a:pt x="972" y="1991"/>
                </a:lnTo>
                <a:lnTo>
                  <a:pt x="975" y="1986"/>
                </a:lnTo>
                <a:lnTo>
                  <a:pt x="970" y="1981"/>
                </a:lnTo>
                <a:lnTo>
                  <a:pt x="956" y="1976"/>
                </a:lnTo>
                <a:lnTo>
                  <a:pt x="946" y="1967"/>
                </a:lnTo>
                <a:lnTo>
                  <a:pt x="937" y="1965"/>
                </a:lnTo>
                <a:lnTo>
                  <a:pt x="934" y="1962"/>
                </a:lnTo>
                <a:lnTo>
                  <a:pt x="932" y="1960"/>
                </a:lnTo>
                <a:lnTo>
                  <a:pt x="927" y="1950"/>
                </a:lnTo>
                <a:lnTo>
                  <a:pt x="925" y="1946"/>
                </a:lnTo>
                <a:lnTo>
                  <a:pt x="925" y="1950"/>
                </a:lnTo>
                <a:lnTo>
                  <a:pt x="927" y="1957"/>
                </a:lnTo>
                <a:lnTo>
                  <a:pt x="927" y="1962"/>
                </a:lnTo>
                <a:lnTo>
                  <a:pt x="925" y="1965"/>
                </a:lnTo>
                <a:lnTo>
                  <a:pt x="922" y="1962"/>
                </a:lnTo>
                <a:lnTo>
                  <a:pt x="920" y="1957"/>
                </a:lnTo>
                <a:lnTo>
                  <a:pt x="915" y="1927"/>
                </a:lnTo>
                <a:lnTo>
                  <a:pt x="915" y="1920"/>
                </a:lnTo>
                <a:lnTo>
                  <a:pt x="911" y="1917"/>
                </a:lnTo>
                <a:lnTo>
                  <a:pt x="908" y="1912"/>
                </a:lnTo>
                <a:lnTo>
                  <a:pt x="908" y="1905"/>
                </a:lnTo>
                <a:lnTo>
                  <a:pt x="906" y="1901"/>
                </a:lnTo>
                <a:lnTo>
                  <a:pt x="901" y="1896"/>
                </a:lnTo>
                <a:lnTo>
                  <a:pt x="899" y="1891"/>
                </a:lnTo>
                <a:lnTo>
                  <a:pt x="894" y="1889"/>
                </a:lnTo>
                <a:lnTo>
                  <a:pt x="892" y="1877"/>
                </a:lnTo>
                <a:lnTo>
                  <a:pt x="887" y="1875"/>
                </a:lnTo>
                <a:lnTo>
                  <a:pt x="882" y="1872"/>
                </a:lnTo>
                <a:lnTo>
                  <a:pt x="878" y="1872"/>
                </a:lnTo>
                <a:lnTo>
                  <a:pt x="875" y="1867"/>
                </a:lnTo>
                <a:lnTo>
                  <a:pt x="868" y="1851"/>
                </a:lnTo>
                <a:lnTo>
                  <a:pt x="852" y="1832"/>
                </a:lnTo>
                <a:lnTo>
                  <a:pt x="842" y="1827"/>
                </a:lnTo>
                <a:lnTo>
                  <a:pt x="835" y="1823"/>
                </a:lnTo>
                <a:lnTo>
                  <a:pt x="833" y="1820"/>
                </a:lnTo>
                <a:lnTo>
                  <a:pt x="830" y="1813"/>
                </a:lnTo>
                <a:lnTo>
                  <a:pt x="828" y="1806"/>
                </a:lnTo>
                <a:lnTo>
                  <a:pt x="828" y="1799"/>
                </a:lnTo>
                <a:lnTo>
                  <a:pt x="830" y="1789"/>
                </a:lnTo>
                <a:lnTo>
                  <a:pt x="833" y="1785"/>
                </a:lnTo>
                <a:lnTo>
                  <a:pt x="840" y="1780"/>
                </a:lnTo>
                <a:lnTo>
                  <a:pt x="837" y="1773"/>
                </a:lnTo>
                <a:lnTo>
                  <a:pt x="842" y="1768"/>
                </a:lnTo>
                <a:lnTo>
                  <a:pt x="854" y="1763"/>
                </a:lnTo>
                <a:lnTo>
                  <a:pt x="856" y="1756"/>
                </a:lnTo>
                <a:lnTo>
                  <a:pt x="863" y="1740"/>
                </a:lnTo>
                <a:lnTo>
                  <a:pt x="866" y="1733"/>
                </a:lnTo>
                <a:lnTo>
                  <a:pt x="870" y="1730"/>
                </a:lnTo>
                <a:lnTo>
                  <a:pt x="870" y="1723"/>
                </a:lnTo>
                <a:lnTo>
                  <a:pt x="868" y="1714"/>
                </a:lnTo>
                <a:lnTo>
                  <a:pt x="866" y="1709"/>
                </a:lnTo>
                <a:lnTo>
                  <a:pt x="861" y="1704"/>
                </a:lnTo>
                <a:lnTo>
                  <a:pt x="844" y="1695"/>
                </a:lnTo>
                <a:lnTo>
                  <a:pt x="811" y="1688"/>
                </a:lnTo>
                <a:lnTo>
                  <a:pt x="799" y="1683"/>
                </a:lnTo>
                <a:lnTo>
                  <a:pt x="804" y="1681"/>
                </a:lnTo>
                <a:lnTo>
                  <a:pt x="807" y="1676"/>
                </a:lnTo>
                <a:lnTo>
                  <a:pt x="811" y="1673"/>
                </a:lnTo>
                <a:lnTo>
                  <a:pt x="821" y="1673"/>
                </a:lnTo>
                <a:lnTo>
                  <a:pt x="823" y="1671"/>
                </a:lnTo>
                <a:lnTo>
                  <a:pt x="823" y="1669"/>
                </a:lnTo>
                <a:lnTo>
                  <a:pt x="825" y="1662"/>
                </a:lnTo>
                <a:lnTo>
                  <a:pt x="825" y="1657"/>
                </a:lnTo>
                <a:lnTo>
                  <a:pt x="821" y="1650"/>
                </a:lnTo>
                <a:lnTo>
                  <a:pt x="821" y="1643"/>
                </a:lnTo>
                <a:lnTo>
                  <a:pt x="821" y="1638"/>
                </a:lnTo>
                <a:lnTo>
                  <a:pt x="823" y="1633"/>
                </a:lnTo>
                <a:lnTo>
                  <a:pt x="825" y="1628"/>
                </a:lnTo>
                <a:lnTo>
                  <a:pt x="828" y="1624"/>
                </a:lnTo>
                <a:lnTo>
                  <a:pt x="835" y="1621"/>
                </a:lnTo>
                <a:lnTo>
                  <a:pt x="861" y="1619"/>
                </a:lnTo>
                <a:lnTo>
                  <a:pt x="863" y="1617"/>
                </a:lnTo>
                <a:lnTo>
                  <a:pt x="866" y="1617"/>
                </a:lnTo>
                <a:lnTo>
                  <a:pt x="868" y="1617"/>
                </a:lnTo>
                <a:lnTo>
                  <a:pt x="870" y="1619"/>
                </a:lnTo>
                <a:lnTo>
                  <a:pt x="873" y="1621"/>
                </a:lnTo>
                <a:lnTo>
                  <a:pt x="887" y="1626"/>
                </a:lnTo>
                <a:lnTo>
                  <a:pt x="892" y="1626"/>
                </a:lnTo>
                <a:lnTo>
                  <a:pt x="889" y="1624"/>
                </a:lnTo>
                <a:lnTo>
                  <a:pt x="892" y="1624"/>
                </a:lnTo>
                <a:lnTo>
                  <a:pt x="896" y="1624"/>
                </a:lnTo>
                <a:lnTo>
                  <a:pt x="899" y="1626"/>
                </a:lnTo>
                <a:lnTo>
                  <a:pt x="901" y="1628"/>
                </a:lnTo>
                <a:lnTo>
                  <a:pt x="894" y="1628"/>
                </a:lnTo>
                <a:lnTo>
                  <a:pt x="894" y="1631"/>
                </a:lnTo>
                <a:lnTo>
                  <a:pt x="906" y="1640"/>
                </a:lnTo>
                <a:lnTo>
                  <a:pt x="918" y="1643"/>
                </a:lnTo>
                <a:lnTo>
                  <a:pt x="922" y="1645"/>
                </a:lnTo>
                <a:lnTo>
                  <a:pt x="927" y="1652"/>
                </a:lnTo>
                <a:lnTo>
                  <a:pt x="934" y="1654"/>
                </a:lnTo>
                <a:lnTo>
                  <a:pt x="951" y="1657"/>
                </a:lnTo>
                <a:lnTo>
                  <a:pt x="944" y="1652"/>
                </a:lnTo>
                <a:lnTo>
                  <a:pt x="932" y="1650"/>
                </a:lnTo>
                <a:lnTo>
                  <a:pt x="927" y="1645"/>
                </a:lnTo>
                <a:lnTo>
                  <a:pt x="918" y="1636"/>
                </a:lnTo>
                <a:lnTo>
                  <a:pt x="908" y="1626"/>
                </a:lnTo>
                <a:lnTo>
                  <a:pt x="899" y="1619"/>
                </a:lnTo>
                <a:lnTo>
                  <a:pt x="894" y="1617"/>
                </a:lnTo>
                <a:lnTo>
                  <a:pt x="887" y="1617"/>
                </a:lnTo>
                <a:lnTo>
                  <a:pt x="885" y="1617"/>
                </a:lnTo>
                <a:lnTo>
                  <a:pt x="880" y="1612"/>
                </a:lnTo>
                <a:lnTo>
                  <a:pt x="868" y="1607"/>
                </a:lnTo>
                <a:lnTo>
                  <a:pt x="830" y="1610"/>
                </a:lnTo>
                <a:lnTo>
                  <a:pt x="821" y="1614"/>
                </a:lnTo>
                <a:lnTo>
                  <a:pt x="818" y="1619"/>
                </a:lnTo>
                <a:lnTo>
                  <a:pt x="816" y="1621"/>
                </a:lnTo>
                <a:lnTo>
                  <a:pt x="814" y="1624"/>
                </a:lnTo>
                <a:lnTo>
                  <a:pt x="811" y="1626"/>
                </a:lnTo>
                <a:lnTo>
                  <a:pt x="804" y="1628"/>
                </a:lnTo>
                <a:lnTo>
                  <a:pt x="797" y="1636"/>
                </a:lnTo>
                <a:lnTo>
                  <a:pt x="790" y="1638"/>
                </a:lnTo>
                <a:lnTo>
                  <a:pt x="785" y="1638"/>
                </a:lnTo>
                <a:lnTo>
                  <a:pt x="781" y="1636"/>
                </a:lnTo>
                <a:lnTo>
                  <a:pt x="776" y="1631"/>
                </a:lnTo>
                <a:lnTo>
                  <a:pt x="769" y="1621"/>
                </a:lnTo>
                <a:lnTo>
                  <a:pt x="764" y="1619"/>
                </a:lnTo>
                <a:lnTo>
                  <a:pt x="759" y="1619"/>
                </a:lnTo>
                <a:lnTo>
                  <a:pt x="757" y="1619"/>
                </a:lnTo>
                <a:lnTo>
                  <a:pt x="754" y="1619"/>
                </a:lnTo>
                <a:lnTo>
                  <a:pt x="752" y="1621"/>
                </a:lnTo>
                <a:lnTo>
                  <a:pt x="750" y="1624"/>
                </a:lnTo>
                <a:lnTo>
                  <a:pt x="750" y="1626"/>
                </a:lnTo>
                <a:lnTo>
                  <a:pt x="750" y="1628"/>
                </a:lnTo>
                <a:lnTo>
                  <a:pt x="743" y="1626"/>
                </a:lnTo>
                <a:lnTo>
                  <a:pt x="714" y="1612"/>
                </a:lnTo>
                <a:lnTo>
                  <a:pt x="714" y="1610"/>
                </a:lnTo>
                <a:lnTo>
                  <a:pt x="721" y="1610"/>
                </a:lnTo>
                <a:lnTo>
                  <a:pt x="733" y="1617"/>
                </a:lnTo>
                <a:lnTo>
                  <a:pt x="740" y="1617"/>
                </a:lnTo>
                <a:lnTo>
                  <a:pt x="745" y="1610"/>
                </a:lnTo>
                <a:lnTo>
                  <a:pt x="743" y="1605"/>
                </a:lnTo>
                <a:lnTo>
                  <a:pt x="738" y="1598"/>
                </a:lnTo>
                <a:lnTo>
                  <a:pt x="733" y="1593"/>
                </a:lnTo>
                <a:lnTo>
                  <a:pt x="731" y="1593"/>
                </a:lnTo>
                <a:lnTo>
                  <a:pt x="731" y="1593"/>
                </a:lnTo>
                <a:lnTo>
                  <a:pt x="728" y="1595"/>
                </a:lnTo>
                <a:lnTo>
                  <a:pt x="731" y="1598"/>
                </a:lnTo>
                <a:lnTo>
                  <a:pt x="731" y="1600"/>
                </a:lnTo>
                <a:lnTo>
                  <a:pt x="728" y="1605"/>
                </a:lnTo>
                <a:lnTo>
                  <a:pt x="726" y="1605"/>
                </a:lnTo>
                <a:lnTo>
                  <a:pt x="726" y="1591"/>
                </a:lnTo>
                <a:lnTo>
                  <a:pt x="724" y="1583"/>
                </a:lnTo>
                <a:lnTo>
                  <a:pt x="712" y="1576"/>
                </a:lnTo>
                <a:lnTo>
                  <a:pt x="736" y="1562"/>
                </a:lnTo>
                <a:lnTo>
                  <a:pt x="738" y="1565"/>
                </a:lnTo>
                <a:lnTo>
                  <a:pt x="740" y="1565"/>
                </a:lnTo>
                <a:lnTo>
                  <a:pt x="745" y="1567"/>
                </a:lnTo>
                <a:lnTo>
                  <a:pt x="745" y="1569"/>
                </a:lnTo>
                <a:lnTo>
                  <a:pt x="745" y="1569"/>
                </a:lnTo>
                <a:lnTo>
                  <a:pt x="745" y="1569"/>
                </a:lnTo>
                <a:lnTo>
                  <a:pt x="745" y="1572"/>
                </a:lnTo>
                <a:lnTo>
                  <a:pt x="750" y="1569"/>
                </a:lnTo>
                <a:lnTo>
                  <a:pt x="759" y="1565"/>
                </a:lnTo>
                <a:lnTo>
                  <a:pt x="759" y="1560"/>
                </a:lnTo>
                <a:lnTo>
                  <a:pt x="754" y="1560"/>
                </a:lnTo>
                <a:lnTo>
                  <a:pt x="747" y="1560"/>
                </a:lnTo>
                <a:lnTo>
                  <a:pt x="743" y="1557"/>
                </a:lnTo>
                <a:lnTo>
                  <a:pt x="747" y="1550"/>
                </a:lnTo>
                <a:lnTo>
                  <a:pt x="743" y="1548"/>
                </a:lnTo>
                <a:lnTo>
                  <a:pt x="736" y="1548"/>
                </a:lnTo>
                <a:lnTo>
                  <a:pt x="733" y="1546"/>
                </a:lnTo>
                <a:lnTo>
                  <a:pt x="736" y="1536"/>
                </a:lnTo>
                <a:lnTo>
                  <a:pt x="731" y="1531"/>
                </a:lnTo>
                <a:lnTo>
                  <a:pt x="736" y="1529"/>
                </a:lnTo>
                <a:lnTo>
                  <a:pt x="752" y="1527"/>
                </a:lnTo>
                <a:lnTo>
                  <a:pt x="764" y="1524"/>
                </a:lnTo>
                <a:lnTo>
                  <a:pt x="769" y="1527"/>
                </a:lnTo>
                <a:lnTo>
                  <a:pt x="764" y="1524"/>
                </a:lnTo>
                <a:lnTo>
                  <a:pt x="757" y="1524"/>
                </a:lnTo>
                <a:lnTo>
                  <a:pt x="752" y="1524"/>
                </a:lnTo>
                <a:lnTo>
                  <a:pt x="728" y="1515"/>
                </a:lnTo>
                <a:lnTo>
                  <a:pt x="726" y="1515"/>
                </a:lnTo>
                <a:lnTo>
                  <a:pt x="721" y="1515"/>
                </a:lnTo>
                <a:lnTo>
                  <a:pt x="712" y="1517"/>
                </a:lnTo>
                <a:lnTo>
                  <a:pt x="700" y="1517"/>
                </a:lnTo>
                <a:lnTo>
                  <a:pt x="698" y="1520"/>
                </a:lnTo>
                <a:lnTo>
                  <a:pt x="698" y="1520"/>
                </a:lnTo>
                <a:lnTo>
                  <a:pt x="695" y="1520"/>
                </a:lnTo>
                <a:lnTo>
                  <a:pt x="693" y="1517"/>
                </a:lnTo>
                <a:lnTo>
                  <a:pt x="695" y="1517"/>
                </a:lnTo>
                <a:lnTo>
                  <a:pt x="702" y="1515"/>
                </a:lnTo>
                <a:lnTo>
                  <a:pt x="705" y="1510"/>
                </a:lnTo>
                <a:lnTo>
                  <a:pt x="710" y="1503"/>
                </a:lnTo>
                <a:lnTo>
                  <a:pt x="705" y="1508"/>
                </a:lnTo>
                <a:lnTo>
                  <a:pt x="700" y="1508"/>
                </a:lnTo>
                <a:lnTo>
                  <a:pt x="695" y="1508"/>
                </a:lnTo>
                <a:lnTo>
                  <a:pt x="691" y="1508"/>
                </a:lnTo>
                <a:lnTo>
                  <a:pt x="693" y="1510"/>
                </a:lnTo>
                <a:lnTo>
                  <a:pt x="695" y="1510"/>
                </a:lnTo>
                <a:lnTo>
                  <a:pt x="695" y="1512"/>
                </a:lnTo>
                <a:lnTo>
                  <a:pt x="695" y="1515"/>
                </a:lnTo>
                <a:lnTo>
                  <a:pt x="688" y="1515"/>
                </a:lnTo>
                <a:lnTo>
                  <a:pt x="686" y="1512"/>
                </a:lnTo>
                <a:lnTo>
                  <a:pt x="684" y="1510"/>
                </a:lnTo>
                <a:lnTo>
                  <a:pt x="681" y="1522"/>
                </a:lnTo>
                <a:lnTo>
                  <a:pt x="679" y="1524"/>
                </a:lnTo>
                <a:lnTo>
                  <a:pt x="669" y="1520"/>
                </a:lnTo>
                <a:lnTo>
                  <a:pt x="665" y="1520"/>
                </a:lnTo>
                <a:lnTo>
                  <a:pt x="648" y="1524"/>
                </a:lnTo>
                <a:lnTo>
                  <a:pt x="643" y="1524"/>
                </a:lnTo>
                <a:lnTo>
                  <a:pt x="639" y="1524"/>
                </a:lnTo>
                <a:lnTo>
                  <a:pt x="634" y="1522"/>
                </a:lnTo>
                <a:lnTo>
                  <a:pt x="631" y="1520"/>
                </a:lnTo>
                <a:lnTo>
                  <a:pt x="631" y="1517"/>
                </a:lnTo>
                <a:lnTo>
                  <a:pt x="627" y="1508"/>
                </a:lnTo>
                <a:lnTo>
                  <a:pt x="624" y="1508"/>
                </a:lnTo>
                <a:lnTo>
                  <a:pt x="624" y="1505"/>
                </a:lnTo>
                <a:lnTo>
                  <a:pt x="622" y="1503"/>
                </a:lnTo>
                <a:lnTo>
                  <a:pt x="617" y="1503"/>
                </a:lnTo>
                <a:lnTo>
                  <a:pt x="617" y="1503"/>
                </a:lnTo>
                <a:lnTo>
                  <a:pt x="617" y="1503"/>
                </a:lnTo>
                <a:lnTo>
                  <a:pt x="617" y="1501"/>
                </a:lnTo>
                <a:lnTo>
                  <a:pt x="613" y="1498"/>
                </a:lnTo>
                <a:lnTo>
                  <a:pt x="617" y="1496"/>
                </a:lnTo>
                <a:lnTo>
                  <a:pt x="624" y="1496"/>
                </a:lnTo>
                <a:lnTo>
                  <a:pt x="629" y="1503"/>
                </a:lnTo>
                <a:lnTo>
                  <a:pt x="631" y="1503"/>
                </a:lnTo>
                <a:lnTo>
                  <a:pt x="634" y="1501"/>
                </a:lnTo>
                <a:lnTo>
                  <a:pt x="634" y="1501"/>
                </a:lnTo>
                <a:lnTo>
                  <a:pt x="636" y="1501"/>
                </a:lnTo>
                <a:lnTo>
                  <a:pt x="639" y="1505"/>
                </a:lnTo>
                <a:lnTo>
                  <a:pt x="639" y="1501"/>
                </a:lnTo>
                <a:lnTo>
                  <a:pt x="641" y="1496"/>
                </a:lnTo>
                <a:lnTo>
                  <a:pt x="646" y="1501"/>
                </a:lnTo>
                <a:lnTo>
                  <a:pt x="653" y="1503"/>
                </a:lnTo>
                <a:lnTo>
                  <a:pt x="660" y="1503"/>
                </a:lnTo>
                <a:lnTo>
                  <a:pt x="667" y="1498"/>
                </a:lnTo>
                <a:lnTo>
                  <a:pt x="665" y="1496"/>
                </a:lnTo>
                <a:lnTo>
                  <a:pt x="676" y="1482"/>
                </a:lnTo>
                <a:lnTo>
                  <a:pt x="679" y="1472"/>
                </a:lnTo>
                <a:lnTo>
                  <a:pt x="672" y="1465"/>
                </a:lnTo>
                <a:lnTo>
                  <a:pt x="672" y="1467"/>
                </a:lnTo>
                <a:lnTo>
                  <a:pt x="674" y="1470"/>
                </a:lnTo>
                <a:lnTo>
                  <a:pt x="674" y="1472"/>
                </a:lnTo>
                <a:lnTo>
                  <a:pt x="674" y="1475"/>
                </a:lnTo>
                <a:lnTo>
                  <a:pt x="669" y="1475"/>
                </a:lnTo>
                <a:lnTo>
                  <a:pt x="674" y="1479"/>
                </a:lnTo>
                <a:lnTo>
                  <a:pt x="672" y="1482"/>
                </a:lnTo>
                <a:lnTo>
                  <a:pt x="672" y="1482"/>
                </a:lnTo>
                <a:lnTo>
                  <a:pt x="667" y="1482"/>
                </a:lnTo>
                <a:lnTo>
                  <a:pt x="667" y="1479"/>
                </a:lnTo>
                <a:lnTo>
                  <a:pt x="653" y="1470"/>
                </a:lnTo>
                <a:lnTo>
                  <a:pt x="657" y="1470"/>
                </a:lnTo>
                <a:lnTo>
                  <a:pt x="665" y="1472"/>
                </a:lnTo>
                <a:lnTo>
                  <a:pt x="660" y="1467"/>
                </a:lnTo>
                <a:lnTo>
                  <a:pt x="657" y="1465"/>
                </a:lnTo>
                <a:lnTo>
                  <a:pt x="648" y="1463"/>
                </a:lnTo>
                <a:lnTo>
                  <a:pt x="653" y="1465"/>
                </a:lnTo>
                <a:lnTo>
                  <a:pt x="646" y="1470"/>
                </a:lnTo>
                <a:lnTo>
                  <a:pt x="631" y="1470"/>
                </a:lnTo>
                <a:lnTo>
                  <a:pt x="629" y="1472"/>
                </a:lnTo>
                <a:lnTo>
                  <a:pt x="627" y="1477"/>
                </a:lnTo>
                <a:lnTo>
                  <a:pt x="620" y="1479"/>
                </a:lnTo>
                <a:lnTo>
                  <a:pt x="610" y="1482"/>
                </a:lnTo>
                <a:lnTo>
                  <a:pt x="610" y="1479"/>
                </a:lnTo>
                <a:lnTo>
                  <a:pt x="613" y="1479"/>
                </a:lnTo>
                <a:lnTo>
                  <a:pt x="613" y="1477"/>
                </a:lnTo>
                <a:lnTo>
                  <a:pt x="608" y="1477"/>
                </a:lnTo>
                <a:lnTo>
                  <a:pt x="608" y="1477"/>
                </a:lnTo>
                <a:lnTo>
                  <a:pt x="605" y="1479"/>
                </a:lnTo>
                <a:lnTo>
                  <a:pt x="605" y="1479"/>
                </a:lnTo>
                <a:lnTo>
                  <a:pt x="603" y="1475"/>
                </a:lnTo>
                <a:lnTo>
                  <a:pt x="603" y="1470"/>
                </a:lnTo>
                <a:lnTo>
                  <a:pt x="605" y="1467"/>
                </a:lnTo>
                <a:lnTo>
                  <a:pt x="608" y="1465"/>
                </a:lnTo>
                <a:lnTo>
                  <a:pt x="603" y="1465"/>
                </a:lnTo>
                <a:lnTo>
                  <a:pt x="601" y="1463"/>
                </a:lnTo>
                <a:lnTo>
                  <a:pt x="598" y="1458"/>
                </a:lnTo>
                <a:lnTo>
                  <a:pt x="598" y="1453"/>
                </a:lnTo>
                <a:lnTo>
                  <a:pt x="596" y="1453"/>
                </a:lnTo>
                <a:lnTo>
                  <a:pt x="596" y="1456"/>
                </a:lnTo>
                <a:lnTo>
                  <a:pt x="596" y="1460"/>
                </a:lnTo>
                <a:lnTo>
                  <a:pt x="598" y="1465"/>
                </a:lnTo>
                <a:lnTo>
                  <a:pt x="596" y="1475"/>
                </a:lnTo>
                <a:lnTo>
                  <a:pt x="598" y="1479"/>
                </a:lnTo>
                <a:lnTo>
                  <a:pt x="601" y="1484"/>
                </a:lnTo>
                <a:lnTo>
                  <a:pt x="603" y="1489"/>
                </a:lnTo>
                <a:lnTo>
                  <a:pt x="605" y="1491"/>
                </a:lnTo>
                <a:lnTo>
                  <a:pt x="605" y="1494"/>
                </a:lnTo>
                <a:lnTo>
                  <a:pt x="605" y="1496"/>
                </a:lnTo>
                <a:lnTo>
                  <a:pt x="603" y="1496"/>
                </a:lnTo>
                <a:lnTo>
                  <a:pt x="603" y="1496"/>
                </a:lnTo>
                <a:lnTo>
                  <a:pt x="601" y="1491"/>
                </a:lnTo>
                <a:lnTo>
                  <a:pt x="598" y="1494"/>
                </a:lnTo>
                <a:lnTo>
                  <a:pt x="596" y="1489"/>
                </a:lnTo>
                <a:lnTo>
                  <a:pt x="594" y="1484"/>
                </a:lnTo>
                <a:lnTo>
                  <a:pt x="589" y="1482"/>
                </a:lnTo>
                <a:lnTo>
                  <a:pt x="591" y="1486"/>
                </a:lnTo>
                <a:lnTo>
                  <a:pt x="589" y="1489"/>
                </a:lnTo>
                <a:lnTo>
                  <a:pt x="587" y="1489"/>
                </a:lnTo>
                <a:lnTo>
                  <a:pt x="584" y="1484"/>
                </a:lnTo>
                <a:lnTo>
                  <a:pt x="584" y="1477"/>
                </a:lnTo>
                <a:lnTo>
                  <a:pt x="582" y="1477"/>
                </a:lnTo>
                <a:lnTo>
                  <a:pt x="582" y="1482"/>
                </a:lnTo>
                <a:lnTo>
                  <a:pt x="582" y="1486"/>
                </a:lnTo>
                <a:lnTo>
                  <a:pt x="579" y="1486"/>
                </a:lnTo>
                <a:lnTo>
                  <a:pt x="577" y="1486"/>
                </a:lnTo>
                <a:lnTo>
                  <a:pt x="575" y="1484"/>
                </a:lnTo>
                <a:lnTo>
                  <a:pt x="565" y="1489"/>
                </a:lnTo>
                <a:lnTo>
                  <a:pt x="560" y="1489"/>
                </a:lnTo>
                <a:lnTo>
                  <a:pt x="558" y="1486"/>
                </a:lnTo>
                <a:lnTo>
                  <a:pt x="558" y="1484"/>
                </a:lnTo>
                <a:lnTo>
                  <a:pt x="560" y="1484"/>
                </a:lnTo>
                <a:lnTo>
                  <a:pt x="558" y="1482"/>
                </a:lnTo>
                <a:lnTo>
                  <a:pt x="556" y="1479"/>
                </a:lnTo>
                <a:lnTo>
                  <a:pt x="551" y="1479"/>
                </a:lnTo>
                <a:lnTo>
                  <a:pt x="549" y="1484"/>
                </a:lnTo>
                <a:lnTo>
                  <a:pt x="551" y="1484"/>
                </a:lnTo>
                <a:lnTo>
                  <a:pt x="551" y="1486"/>
                </a:lnTo>
                <a:lnTo>
                  <a:pt x="553" y="1486"/>
                </a:lnTo>
                <a:lnTo>
                  <a:pt x="549" y="1501"/>
                </a:lnTo>
                <a:lnTo>
                  <a:pt x="551" y="1512"/>
                </a:lnTo>
                <a:lnTo>
                  <a:pt x="556" y="1522"/>
                </a:lnTo>
                <a:lnTo>
                  <a:pt x="560" y="1531"/>
                </a:lnTo>
                <a:lnTo>
                  <a:pt x="558" y="1529"/>
                </a:lnTo>
                <a:lnTo>
                  <a:pt x="551" y="1529"/>
                </a:lnTo>
                <a:lnTo>
                  <a:pt x="549" y="1529"/>
                </a:lnTo>
                <a:lnTo>
                  <a:pt x="546" y="1529"/>
                </a:lnTo>
                <a:lnTo>
                  <a:pt x="544" y="1517"/>
                </a:lnTo>
                <a:lnTo>
                  <a:pt x="544" y="1515"/>
                </a:lnTo>
                <a:lnTo>
                  <a:pt x="544" y="1510"/>
                </a:lnTo>
                <a:lnTo>
                  <a:pt x="549" y="1503"/>
                </a:lnTo>
                <a:lnTo>
                  <a:pt x="549" y="1496"/>
                </a:lnTo>
                <a:lnTo>
                  <a:pt x="549" y="1486"/>
                </a:lnTo>
                <a:lnTo>
                  <a:pt x="546" y="1479"/>
                </a:lnTo>
                <a:lnTo>
                  <a:pt x="544" y="1472"/>
                </a:lnTo>
                <a:lnTo>
                  <a:pt x="539" y="1467"/>
                </a:lnTo>
                <a:lnTo>
                  <a:pt x="537" y="1467"/>
                </a:lnTo>
                <a:lnTo>
                  <a:pt x="534" y="1465"/>
                </a:lnTo>
                <a:lnTo>
                  <a:pt x="532" y="1463"/>
                </a:lnTo>
                <a:lnTo>
                  <a:pt x="530" y="1460"/>
                </a:lnTo>
                <a:lnTo>
                  <a:pt x="532" y="1456"/>
                </a:lnTo>
                <a:lnTo>
                  <a:pt x="534" y="1444"/>
                </a:lnTo>
                <a:lnTo>
                  <a:pt x="558" y="1434"/>
                </a:lnTo>
                <a:lnTo>
                  <a:pt x="556" y="1432"/>
                </a:lnTo>
                <a:lnTo>
                  <a:pt x="556" y="1430"/>
                </a:lnTo>
                <a:lnTo>
                  <a:pt x="556" y="1427"/>
                </a:lnTo>
                <a:lnTo>
                  <a:pt x="556" y="1423"/>
                </a:lnTo>
                <a:lnTo>
                  <a:pt x="553" y="1423"/>
                </a:lnTo>
                <a:lnTo>
                  <a:pt x="551" y="1425"/>
                </a:lnTo>
                <a:lnTo>
                  <a:pt x="549" y="1425"/>
                </a:lnTo>
                <a:lnTo>
                  <a:pt x="549" y="1415"/>
                </a:lnTo>
                <a:lnTo>
                  <a:pt x="551" y="1413"/>
                </a:lnTo>
                <a:lnTo>
                  <a:pt x="549" y="1413"/>
                </a:lnTo>
                <a:lnTo>
                  <a:pt x="546" y="1418"/>
                </a:lnTo>
                <a:lnTo>
                  <a:pt x="542" y="1415"/>
                </a:lnTo>
                <a:lnTo>
                  <a:pt x="539" y="1413"/>
                </a:lnTo>
                <a:lnTo>
                  <a:pt x="534" y="1415"/>
                </a:lnTo>
                <a:lnTo>
                  <a:pt x="539" y="1418"/>
                </a:lnTo>
                <a:lnTo>
                  <a:pt x="542" y="1420"/>
                </a:lnTo>
                <a:lnTo>
                  <a:pt x="542" y="1425"/>
                </a:lnTo>
                <a:lnTo>
                  <a:pt x="544" y="1430"/>
                </a:lnTo>
                <a:lnTo>
                  <a:pt x="542" y="1430"/>
                </a:lnTo>
                <a:lnTo>
                  <a:pt x="542" y="1432"/>
                </a:lnTo>
                <a:lnTo>
                  <a:pt x="542" y="1432"/>
                </a:lnTo>
                <a:lnTo>
                  <a:pt x="542" y="1434"/>
                </a:lnTo>
                <a:lnTo>
                  <a:pt x="537" y="1430"/>
                </a:lnTo>
                <a:lnTo>
                  <a:pt x="537" y="1432"/>
                </a:lnTo>
                <a:lnTo>
                  <a:pt x="534" y="1434"/>
                </a:lnTo>
                <a:lnTo>
                  <a:pt x="530" y="1437"/>
                </a:lnTo>
                <a:lnTo>
                  <a:pt x="530" y="1437"/>
                </a:lnTo>
                <a:lnTo>
                  <a:pt x="532" y="1441"/>
                </a:lnTo>
                <a:lnTo>
                  <a:pt x="530" y="1444"/>
                </a:lnTo>
                <a:lnTo>
                  <a:pt x="527" y="1449"/>
                </a:lnTo>
                <a:lnTo>
                  <a:pt x="527" y="1451"/>
                </a:lnTo>
                <a:lnTo>
                  <a:pt x="523" y="1453"/>
                </a:lnTo>
                <a:lnTo>
                  <a:pt x="523" y="1451"/>
                </a:lnTo>
                <a:lnTo>
                  <a:pt x="513" y="1441"/>
                </a:lnTo>
                <a:lnTo>
                  <a:pt x="506" y="1439"/>
                </a:lnTo>
                <a:lnTo>
                  <a:pt x="494" y="1434"/>
                </a:lnTo>
                <a:lnTo>
                  <a:pt x="487" y="1434"/>
                </a:lnTo>
                <a:lnTo>
                  <a:pt x="492" y="1432"/>
                </a:lnTo>
                <a:lnTo>
                  <a:pt x="497" y="1432"/>
                </a:lnTo>
                <a:lnTo>
                  <a:pt x="508" y="1437"/>
                </a:lnTo>
                <a:lnTo>
                  <a:pt x="508" y="1434"/>
                </a:lnTo>
                <a:lnTo>
                  <a:pt x="504" y="1432"/>
                </a:lnTo>
                <a:lnTo>
                  <a:pt x="499" y="1430"/>
                </a:lnTo>
                <a:lnTo>
                  <a:pt x="487" y="1427"/>
                </a:lnTo>
                <a:lnTo>
                  <a:pt x="487" y="1425"/>
                </a:lnTo>
                <a:lnTo>
                  <a:pt x="489" y="1425"/>
                </a:lnTo>
                <a:lnTo>
                  <a:pt x="489" y="1425"/>
                </a:lnTo>
                <a:lnTo>
                  <a:pt x="489" y="1423"/>
                </a:lnTo>
                <a:lnTo>
                  <a:pt x="492" y="1418"/>
                </a:lnTo>
                <a:lnTo>
                  <a:pt x="492" y="1415"/>
                </a:lnTo>
                <a:lnTo>
                  <a:pt x="497" y="1418"/>
                </a:lnTo>
                <a:lnTo>
                  <a:pt x="499" y="1418"/>
                </a:lnTo>
                <a:lnTo>
                  <a:pt x="504" y="1408"/>
                </a:lnTo>
                <a:lnTo>
                  <a:pt x="506" y="1401"/>
                </a:lnTo>
                <a:lnTo>
                  <a:pt x="508" y="1399"/>
                </a:lnTo>
                <a:lnTo>
                  <a:pt x="508" y="1396"/>
                </a:lnTo>
                <a:lnTo>
                  <a:pt x="504" y="1404"/>
                </a:lnTo>
                <a:lnTo>
                  <a:pt x="494" y="1411"/>
                </a:lnTo>
                <a:lnTo>
                  <a:pt x="485" y="1415"/>
                </a:lnTo>
                <a:lnTo>
                  <a:pt x="480" y="1418"/>
                </a:lnTo>
                <a:lnTo>
                  <a:pt x="482" y="1418"/>
                </a:lnTo>
                <a:lnTo>
                  <a:pt x="482" y="1420"/>
                </a:lnTo>
                <a:lnTo>
                  <a:pt x="485" y="1423"/>
                </a:lnTo>
                <a:lnTo>
                  <a:pt x="485" y="1425"/>
                </a:lnTo>
                <a:lnTo>
                  <a:pt x="461" y="1430"/>
                </a:lnTo>
                <a:lnTo>
                  <a:pt x="456" y="1427"/>
                </a:lnTo>
                <a:lnTo>
                  <a:pt x="456" y="1425"/>
                </a:lnTo>
                <a:lnTo>
                  <a:pt x="447" y="1415"/>
                </a:lnTo>
                <a:lnTo>
                  <a:pt x="445" y="1406"/>
                </a:lnTo>
                <a:lnTo>
                  <a:pt x="440" y="1401"/>
                </a:lnTo>
                <a:lnTo>
                  <a:pt x="440" y="1399"/>
                </a:lnTo>
                <a:lnTo>
                  <a:pt x="440" y="1396"/>
                </a:lnTo>
                <a:lnTo>
                  <a:pt x="435" y="1399"/>
                </a:lnTo>
                <a:lnTo>
                  <a:pt x="430" y="1399"/>
                </a:lnTo>
                <a:lnTo>
                  <a:pt x="421" y="1396"/>
                </a:lnTo>
                <a:lnTo>
                  <a:pt x="414" y="1396"/>
                </a:lnTo>
                <a:lnTo>
                  <a:pt x="411" y="1396"/>
                </a:lnTo>
                <a:lnTo>
                  <a:pt x="409" y="1394"/>
                </a:lnTo>
                <a:lnTo>
                  <a:pt x="407" y="1389"/>
                </a:lnTo>
                <a:lnTo>
                  <a:pt x="404" y="1389"/>
                </a:lnTo>
                <a:lnTo>
                  <a:pt x="392" y="1389"/>
                </a:lnTo>
                <a:lnTo>
                  <a:pt x="388" y="1387"/>
                </a:lnTo>
                <a:lnTo>
                  <a:pt x="385" y="1382"/>
                </a:lnTo>
                <a:lnTo>
                  <a:pt x="383" y="1380"/>
                </a:lnTo>
                <a:lnTo>
                  <a:pt x="369" y="1387"/>
                </a:lnTo>
                <a:lnTo>
                  <a:pt x="364" y="1382"/>
                </a:lnTo>
                <a:lnTo>
                  <a:pt x="359" y="1382"/>
                </a:lnTo>
                <a:lnTo>
                  <a:pt x="352" y="1385"/>
                </a:lnTo>
                <a:lnTo>
                  <a:pt x="348" y="1382"/>
                </a:lnTo>
                <a:lnTo>
                  <a:pt x="345" y="1382"/>
                </a:lnTo>
                <a:lnTo>
                  <a:pt x="340" y="1370"/>
                </a:lnTo>
                <a:lnTo>
                  <a:pt x="340" y="1368"/>
                </a:lnTo>
                <a:lnTo>
                  <a:pt x="338" y="1368"/>
                </a:lnTo>
                <a:lnTo>
                  <a:pt x="336" y="1366"/>
                </a:lnTo>
                <a:lnTo>
                  <a:pt x="338" y="1361"/>
                </a:lnTo>
                <a:lnTo>
                  <a:pt x="336" y="1359"/>
                </a:lnTo>
                <a:lnTo>
                  <a:pt x="333" y="1359"/>
                </a:lnTo>
                <a:lnTo>
                  <a:pt x="331" y="1356"/>
                </a:lnTo>
                <a:lnTo>
                  <a:pt x="329" y="1352"/>
                </a:lnTo>
                <a:lnTo>
                  <a:pt x="324" y="1344"/>
                </a:lnTo>
                <a:lnTo>
                  <a:pt x="317" y="1340"/>
                </a:lnTo>
                <a:lnTo>
                  <a:pt x="310" y="1337"/>
                </a:lnTo>
                <a:lnTo>
                  <a:pt x="312" y="1347"/>
                </a:lnTo>
                <a:lnTo>
                  <a:pt x="310" y="1354"/>
                </a:lnTo>
                <a:lnTo>
                  <a:pt x="303" y="1359"/>
                </a:lnTo>
                <a:lnTo>
                  <a:pt x="298" y="1359"/>
                </a:lnTo>
                <a:lnTo>
                  <a:pt x="300" y="1359"/>
                </a:lnTo>
                <a:lnTo>
                  <a:pt x="303" y="1359"/>
                </a:lnTo>
                <a:lnTo>
                  <a:pt x="305" y="1356"/>
                </a:lnTo>
                <a:lnTo>
                  <a:pt x="305" y="1352"/>
                </a:lnTo>
                <a:lnTo>
                  <a:pt x="303" y="1354"/>
                </a:lnTo>
                <a:lnTo>
                  <a:pt x="298" y="1354"/>
                </a:lnTo>
                <a:lnTo>
                  <a:pt x="295" y="1354"/>
                </a:lnTo>
                <a:lnTo>
                  <a:pt x="295" y="1359"/>
                </a:lnTo>
                <a:lnTo>
                  <a:pt x="286" y="1352"/>
                </a:lnTo>
                <a:lnTo>
                  <a:pt x="284" y="1349"/>
                </a:lnTo>
                <a:lnTo>
                  <a:pt x="279" y="1349"/>
                </a:lnTo>
                <a:lnTo>
                  <a:pt x="277" y="1347"/>
                </a:lnTo>
                <a:lnTo>
                  <a:pt x="272" y="1342"/>
                </a:lnTo>
                <a:lnTo>
                  <a:pt x="269" y="1335"/>
                </a:lnTo>
                <a:lnTo>
                  <a:pt x="269" y="1328"/>
                </a:lnTo>
                <a:lnTo>
                  <a:pt x="265" y="1333"/>
                </a:lnTo>
                <a:lnTo>
                  <a:pt x="267" y="1337"/>
                </a:lnTo>
                <a:lnTo>
                  <a:pt x="272" y="1344"/>
                </a:lnTo>
                <a:lnTo>
                  <a:pt x="274" y="1349"/>
                </a:lnTo>
                <a:lnTo>
                  <a:pt x="274" y="1352"/>
                </a:lnTo>
                <a:lnTo>
                  <a:pt x="269" y="1352"/>
                </a:lnTo>
                <a:lnTo>
                  <a:pt x="267" y="1352"/>
                </a:lnTo>
                <a:lnTo>
                  <a:pt x="265" y="1354"/>
                </a:lnTo>
                <a:lnTo>
                  <a:pt x="262" y="1356"/>
                </a:lnTo>
                <a:lnTo>
                  <a:pt x="258" y="1347"/>
                </a:lnTo>
                <a:lnTo>
                  <a:pt x="253" y="1347"/>
                </a:lnTo>
                <a:lnTo>
                  <a:pt x="251" y="1352"/>
                </a:lnTo>
                <a:lnTo>
                  <a:pt x="255" y="1356"/>
                </a:lnTo>
                <a:lnTo>
                  <a:pt x="255" y="1356"/>
                </a:lnTo>
                <a:lnTo>
                  <a:pt x="253" y="1359"/>
                </a:lnTo>
                <a:lnTo>
                  <a:pt x="253" y="1361"/>
                </a:lnTo>
                <a:lnTo>
                  <a:pt x="262" y="1361"/>
                </a:lnTo>
                <a:lnTo>
                  <a:pt x="260" y="1366"/>
                </a:lnTo>
                <a:lnTo>
                  <a:pt x="251" y="1373"/>
                </a:lnTo>
                <a:lnTo>
                  <a:pt x="246" y="1375"/>
                </a:lnTo>
                <a:lnTo>
                  <a:pt x="239" y="1378"/>
                </a:lnTo>
                <a:lnTo>
                  <a:pt x="198" y="1373"/>
                </a:lnTo>
                <a:lnTo>
                  <a:pt x="198" y="1370"/>
                </a:lnTo>
                <a:lnTo>
                  <a:pt x="198" y="1363"/>
                </a:lnTo>
                <a:lnTo>
                  <a:pt x="198" y="1361"/>
                </a:lnTo>
                <a:lnTo>
                  <a:pt x="201" y="1361"/>
                </a:lnTo>
                <a:lnTo>
                  <a:pt x="203" y="1361"/>
                </a:lnTo>
                <a:lnTo>
                  <a:pt x="206" y="1361"/>
                </a:lnTo>
                <a:lnTo>
                  <a:pt x="206" y="1359"/>
                </a:lnTo>
                <a:lnTo>
                  <a:pt x="206" y="1349"/>
                </a:lnTo>
                <a:lnTo>
                  <a:pt x="203" y="1340"/>
                </a:lnTo>
                <a:lnTo>
                  <a:pt x="201" y="1328"/>
                </a:lnTo>
                <a:lnTo>
                  <a:pt x="196" y="1318"/>
                </a:lnTo>
                <a:lnTo>
                  <a:pt x="184" y="1299"/>
                </a:lnTo>
                <a:lnTo>
                  <a:pt x="161" y="1278"/>
                </a:lnTo>
                <a:lnTo>
                  <a:pt x="158" y="1278"/>
                </a:lnTo>
                <a:lnTo>
                  <a:pt x="154" y="1281"/>
                </a:lnTo>
                <a:lnTo>
                  <a:pt x="149" y="1283"/>
                </a:lnTo>
                <a:lnTo>
                  <a:pt x="146" y="1285"/>
                </a:lnTo>
                <a:lnTo>
                  <a:pt x="137" y="1276"/>
                </a:lnTo>
                <a:lnTo>
                  <a:pt x="132" y="1276"/>
                </a:lnTo>
                <a:lnTo>
                  <a:pt x="123" y="1276"/>
                </a:lnTo>
                <a:lnTo>
                  <a:pt x="101" y="1269"/>
                </a:lnTo>
                <a:lnTo>
                  <a:pt x="104" y="1266"/>
                </a:lnTo>
                <a:lnTo>
                  <a:pt x="106" y="1264"/>
                </a:lnTo>
                <a:lnTo>
                  <a:pt x="106" y="1262"/>
                </a:lnTo>
                <a:lnTo>
                  <a:pt x="109" y="1259"/>
                </a:lnTo>
                <a:lnTo>
                  <a:pt x="109" y="1257"/>
                </a:lnTo>
                <a:lnTo>
                  <a:pt x="109" y="1254"/>
                </a:lnTo>
                <a:lnTo>
                  <a:pt x="111" y="1254"/>
                </a:lnTo>
                <a:lnTo>
                  <a:pt x="111" y="1254"/>
                </a:lnTo>
                <a:lnTo>
                  <a:pt x="113" y="1257"/>
                </a:lnTo>
                <a:lnTo>
                  <a:pt x="116" y="1257"/>
                </a:lnTo>
                <a:lnTo>
                  <a:pt x="208" y="1243"/>
                </a:lnTo>
                <a:lnTo>
                  <a:pt x="225" y="1247"/>
                </a:lnTo>
                <a:lnTo>
                  <a:pt x="229" y="1245"/>
                </a:lnTo>
                <a:lnTo>
                  <a:pt x="229" y="1243"/>
                </a:lnTo>
                <a:lnTo>
                  <a:pt x="234" y="1231"/>
                </a:lnTo>
                <a:lnTo>
                  <a:pt x="232" y="1226"/>
                </a:lnTo>
                <a:lnTo>
                  <a:pt x="229" y="1221"/>
                </a:lnTo>
                <a:lnTo>
                  <a:pt x="227" y="1219"/>
                </a:lnTo>
                <a:lnTo>
                  <a:pt x="227" y="1210"/>
                </a:lnTo>
                <a:lnTo>
                  <a:pt x="225" y="1205"/>
                </a:lnTo>
                <a:lnTo>
                  <a:pt x="213" y="1200"/>
                </a:lnTo>
                <a:lnTo>
                  <a:pt x="210" y="1200"/>
                </a:lnTo>
                <a:lnTo>
                  <a:pt x="208" y="1198"/>
                </a:lnTo>
                <a:lnTo>
                  <a:pt x="206" y="1195"/>
                </a:lnTo>
                <a:lnTo>
                  <a:pt x="206" y="1193"/>
                </a:lnTo>
                <a:lnTo>
                  <a:pt x="198" y="1195"/>
                </a:lnTo>
                <a:lnTo>
                  <a:pt x="184" y="1183"/>
                </a:lnTo>
                <a:lnTo>
                  <a:pt x="177" y="1186"/>
                </a:lnTo>
                <a:lnTo>
                  <a:pt x="172" y="1193"/>
                </a:lnTo>
                <a:lnTo>
                  <a:pt x="168" y="1202"/>
                </a:lnTo>
                <a:lnTo>
                  <a:pt x="161" y="1210"/>
                </a:lnTo>
                <a:lnTo>
                  <a:pt x="154" y="1212"/>
                </a:lnTo>
                <a:lnTo>
                  <a:pt x="158" y="1205"/>
                </a:lnTo>
                <a:lnTo>
                  <a:pt x="158" y="1200"/>
                </a:lnTo>
                <a:lnTo>
                  <a:pt x="156" y="1195"/>
                </a:lnTo>
                <a:lnTo>
                  <a:pt x="154" y="1193"/>
                </a:lnTo>
                <a:lnTo>
                  <a:pt x="154" y="1188"/>
                </a:lnTo>
                <a:lnTo>
                  <a:pt x="156" y="1183"/>
                </a:lnTo>
                <a:lnTo>
                  <a:pt x="158" y="1181"/>
                </a:lnTo>
                <a:lnTo>
                  <a:pt x="158" y="1181"/>
                </a:lnTo>
                <a:lnTo>
                  <a:pt x="158" y="1176"/>
                </a:lnTo>
                <a:lnTo>
                  <a:pt x="154" y="1174"/>
                </a:lnTo>
                <a:lnTo>
                  <a:pt x="137" y="1174"/>
                </a:lnTo>
                <a:lnTo>
                  <a:pt x="137" y="1169"/>
                </a:lnTo>
                <a:lnTo>
                  <a:pt x="137" y="1165"/>
                </a:lnTo>
                <a:lnTo>
                  <a:pt x="142" y="1162"/>
                </a:lnTo>
                <a:lnTo>
                  <a:pt x="142" y="1165"/>
                </a:lnTo>
                <a:lnTo>
                  <a:pt x="144" y="1165"/>
                </a:lnTo>
                <a:lnTo>
                  <a:pt x="149" y="1165"/>
                </a:lnTo>
                <a:lnTo>
                  <a:pt x="151" y="1165"/>
                </a:lnTo>
                <a:lnTo>
                  <a:pt x="154" y="1162"/>
                </a:lnTo>
                <a:lnTo>
                  <a:pt x="151" y="1157"/>
                </a:lnTo>
                <a:lnTo>
                  <a:pt x="151" y="1157"/>
                </a:lnTo>
                <a:lnTo>
                  <a:pt x="158" y="1143"/>
                </a:lnTo>
                <a:lnTo>
                  <a:pt x="161" y="1141"/>
                </a:lnTo>
                <a:lnTo>
                  <a:pt x="165" y="1143"/>
                </a:lnTo>
                <a:lnTo>
                  <a:pt x="161" y="1157"/>
                </a:lnTo>
                <a:lnTo>
                  <a:pt x="170" y="1162"/>
                </a:lnTo>
                <a:lnTo>
                  <a:pt x="194" y="1162"/>
                </a:lnTo>
                <a:lnTo>
                  <a:pt x="196" y="1165"/>
                </a:lnTo>
                <a:lnTo>
                  <a:pt x="198" y="1167"/>
                </a:lnTo>
                <a:lnTo>
                  <a:pt x="201" y="1167"/>
                </a:lnTo>
                <a:lnTo>
                  <a:pt x="206" y="1169"/>
                </a:lnTo>
                <a:lnTo>
                  <a:pt x="208" y="1169"/>
                </a:lnTo>
                <a:lnTo>
                  <a:pt x="222" y="1165"/>
                </a:lnTo>
                <a:lnTo>
                  <a:pt x="241" y="1165"/>
                </a:lnTo>
                <a:lnTo>
                  <a:pt x="239" y="1167"/>
                </a:lnTo>
                <a:lnTo>
                  <a:pt x="236" y="1167"/>
                </a:lnTo>
                <a:lnTo>
                  <a:pt x="234" y="1167"/>
                </a:lnTo>
                <a:lnTo>
                  <a:pt x="239" y="1169"/>
                </a:lnTo>
                <a:lnTo>
                  <a:pt x="262" y="1167"/>
                </a:lnTo>
                <a:lnTo>
                  <a:pt x="262" y="1162"/>
                </a:lnTo>
                <a:lnTo>
                  <a:pt x="253" y="1162"/>
                </a:lnTo>
                <a:lnTo>
                  <a:pt x="251" y="1162"/>
                </a:lnTo>
                <a:lnTo>
                  <a:pt x="248" y="1155"/>
                </a:lnTo>
                <a:lnTo>
                  <a:pt x="246" y="1160"/>
                </a:lnTo>
                <a:lnTo>
                  <a:pt x="243" y="1160"/>
                </a:lnTo>
                <a:lnTo>
                  <a:pt x="239" y="1157"/>
                </a:lnTo>
                <a:lnTo>
                  <a:pt x="239" y="1155"/>
                </a:lnTo>
                <a:lnTo>
                  <a:pt x="236" y="1155"/>
                </a:lnTo>
                <a:lnTo>
                  <a:pt x="225" y="1155"/>
                </a:lnTo>
                <a:lnTo>
                  <a:pt x="227" y="1150"/>
                </a:lnTo>
                <a:lnTo>
                  <a:pt x="227" y="1150"/>
                </a:lnTo>
                <a:lnTo>
                  <a:pt x="229" y="1148"/>
                </a:lnTo>
                <a:lnTo>
                  <a:pt x="229" y="1148"/>
                </a:lnTo>
                <a:lnTo>
                  <a:pt x="232" y="1146"/>
                </a:lnTo>
                <a:lnTo>
                  <a:pt x="234" y="1143"/>
                </a:lnTo>
                <a:lnTo>
                  <a:pt x="241" y="1139"/>
                </a:lnTo>
                <a:lnTo>
                  <a:pt x="236" y="1139"/>
                </a:lnTo>
                <a:lnTo>
                  <a:pt x="229" y="1143"/>
                </a:lnTo>
                <a:lnTo>
                  <a:pt x="225" y="1143"/>
                </a:lnTo>
                <a:lnTo>
                  <a:pt x="225" y="1141"/>
                </a:lnTo>
                <a:lnTo>
                  <a:pt x="227" y="1141"/>
                </a:lnTo>
                <a:lnTo>
                  <a:pt x="227" y="1136"/>
                </a:lnTo>
                <a:lnTo>
                  <a:pt x="225" y="1136"/>
                </a:lnTo>
                <a:lnTo>
                  <a:pt x="225" y="1139"/>
                </a:lnTo>
                <a:lnTo>
                  <a:pt x="222" y="1141"/>
                </a:lnTo>
                <a:lnTo>
                  <a:pt x="220" y="1143"/>
                </a:lnTo>
                <a:lnTo>
                  <a:pt x="217" y="1141"/>
                </a:lnTo>
                <a:lnTo>
                  <a:pt x="208" y="1146"/>
                </a:lnTo>
                <a:lnTo>
                  <a:pt x="201" y="1148"/>
                </a:lnTo>
                <a:lnTo>
                  <a:pt x="201" y="1146"/>
                </a:lnTo>
                <a:lnTo>
                  <a:pt x="201" y="1146"/>
                </a:lnTo>
                <a:lnTo>
                  <a:pt x="203" y="1146"/>
                </a:lnTo>
                <a:lnTo>
                  <a:pt x="201" y="1141"/>
                </a:lnTo>
                <a:lnTo>
                  <a:pt x="198" y="1143"/>
                </a:lnTo>
                <a:lnTo>
                  <a:pt x="196" y="1146"/>
                </a:lnTo>
                <a:lnTo>
                  <a:pt x="191" y="1146"/>
                </a:lnTo>
                <a:lnTo>
                  <a:pt x="187" y="1148"/>
                </a:lnTo>
                <a:lnTo>
                  <a:pt x="187" y="1143"/>
                </a:lnTo>
                <a:lnTo>
                  <a:pt x="206" y="1124"/>
                </a:lnTo>
                <a:lnTo>
                  <a:pt x="208" y="1122"/>
                </a:lnTo>
                <a:lnTo>
                  <a:pt x="236" y="1108"/>
                </a:lnTo>
                <a:lnTo>
                  <a:pt x="232" y="1110"/>
                </a:lnTo>
                <a:lnTo>
                  <a:pt x="222" y="1115"/>
                </a:lnTo>
                <a:lnTo>
                  <a:pt x="215" y="1117"/>
                </a:lnTo>
                <a:lnTo>
                  <a:pt x="196" y="1117"/>
                </a:lnTo>
                <a:lnTo>
                  <a:pt x="189" y="1122"/>
                </a:lnTo>
                <a:lnTo>
                  <a:pt x="170" y="1131"/>
                </a:lnTo>
                <a:lnTo>
                  <a:pt x="156" y="1134"/>
                </a:lnTo>
                <a:lnTo>
                  <a:pt x="146" y="1139"/>
                </a:lnTo>
                <a:lnTo>
                  <a:pt x="142" y="1139"/>
                </a:lnTo>
                <a:lnTo>
                  <a:pt x="137" y="1136"/>
                </a:lnTo>
                <a:lnTo>
                  <a:pt x="127" y="1134"/>
                </a:lnTo>
                <a:lnTo>
                  <a:pt x="120" y="1131"/>
                </a:lnTo>
                <a:lnTo>
                  <a:pt x="120" y="1134"/>
                </a:lnTo>
                <a:lnTo>
                  <a:pt x="120" y="1136"/>
                </a:lnTo>
                <a:lnTo>
                  <a:pt x="118" y="1139"/>
                </a:lnTo>
                <a:lnTo>
                  <a:pt x="116" y="1141"/>
                </a:lnTo>
                <a:lnTo>
                  <a:pt x="101" y="1139"/>
                </a:lnTo>
                <a:lnTo>
                  <a:pt x="99" y="1139"/>
                </a:lnTo>
                <a:lnTo>
                  <a:pt x="97" y="1134"/>
                </a:lnTo>
                <a:lnTo>
                  <a:pt x="94" y="1124"/>
                </a:lnTo>
                <a:lnTo>
                  <a:pt x="101" y="1124"/>
                </a:lnTo>
                <a:lnTo>
                  <a:pt x="101" y="1117"/>
                </a:lnTo>
                <a:lnTo>
                  <a:pt x="97" y="1108"/>
                </a:lnTo>
                <a:lnTo>
                  <a:pt x="97" y="1098"/>
                </a:lnTo>
                <a:lnTo>
                  <a:pt x="99" y="1091"/>
                </a:lnTo>
                <a:lnTo>
                  <a:pt x="101" y="1084"/>
                </a:lnTo>
                <a:lnTo>
                  <a:pt x="109" y="1084"/>
                </a:lnTo>
                <a:lnTo>
                  <a:pt x="109" y="1082"/>
                </a:lnTo>
                <a:lnTo>
                  <a:pt x="101" y="1075"/>
                </a:lnTo>
                <a:lnTo>
                  <a:pt x="104" y="1063"/>
                </a:lnTo>
                <a:lnTo>
                  <a:pt x="113" y="1051"/>
                </a:lnTo>
                <a:lnTo>
                  <a:pt x="118" y="1044"/>
                </a:lnTo>
                <a:lnTo>
                  <a:pt x="120" y="1046"/>
                </a:lnTo>
                <a:lnTo>
                  <a:pt x="123" y="1046"/>
                </a:lnTo>
                <a:lnTo>
                  <a:pt x="120" y="1044"/>
                </a:lnTo>
                <a:lnTo>
                  <a:pt x="125" y="1041"/>
                </a:lnTo>
                <a:lnTo>
                  <a:pt x="132" y="1039"/>
                </a:lnTo>
                <a:lnTo>
                  <a:pt x="139" y="1039"/>
                </a:lnTo>
                <a:lnTo>
                  <a:pt x="146" y="1041"/>
                </a:lnTo>
                <a:lnTo>
                  <a:pt x="156" y="1046"/>
                </a:lnTo>
                <a:lnTo>
                  <a:pt x="158" y="1046"/>
                </a:lnTo>
                <a:lnTo>
                  <a:pt x="154" y="1037"/>
                </a:lnTo>
                <a:lnTo>
                  <a:pt x="151" y="1030"/>
                </a:lnTo>
                <a:lnTo>
                  <a:pt x="154" y="1027"/>
                </a:lnTo>
                <a:lnTo>
                  <a:pt x="168" y="1032"/>
                </a:lnTo>
                <a:lnTo>
                  <a:pt x="172" y="1032"/>
                </a:lnTo>
                <a:lnTo>
                  <a:pt x="165" y="1030"/>
                </a:lnTo>
                <a:lnTo>
                  <a:pt x="165" y="1027"/>
                </a:lnTo>
                <a:lnTo>
                  <a:pt x="168" y="1025"/>
                </a:lnTo>
                <a:lnTo>
                  <a:pt x="165" y="1025"/>
                </a:lnTo>
                <a:lnTo>
                  <a:pt x="163" y="1023"/>
                </a:lnTo>
                <a:lnTo>
                  <a:pt x="163" y="1020"/>
                </a:lnTo>
                <a:lnTo>
                  <a:pt x="187" y="1020"/>
                </a:lnTo>
                <a:lnTo>
                  <a:pt x="191" y="1020"/>
                </a:lnTo>
                <a:lnTo>
                  <a:pt x="201" y="1015"/>
                </a:lnTo>
                <a:lnTo>
                  <a:pt x="208" y="1015"/>
                </a:lnTo>
                <a:lnTo>
                  <a:pt x="206" y="1013"/>
                </a:lnTo>
                <a:lnTo>
                  <a:pt x="203" y="1013"/>
                </a:lnTo>
                <a:lnTo>
                  <a:pt x="203" y="1011"/>
                </a:lnTo>
                <a:lnTo>
                  <a:pt x="210" y="1008"/>
                </a:lnTo>
                <a:lnTo>
                  <a:pt x="220" y="1006"/>
                </a:lnTo>
                <a:lnTo>
                  <a:pt x="227" y="1001"/>
                </a:lnTo>
                <a:lnTo>
                  <a:pt x="234" y="1004"/>
                </a:lnTo>
                <a:lnTo>
                  <a:pt x="239" y="1008"/>
                </a:lnTo>
                <a:lnTo>
                  <a:pt x="236" y="1018"/>
                </a:lnTo>
                <a:lnTo>
                  <a:pt x="243" y="1018"/>
                </a:lnTo>
                <a:lnTo>
                  <a:pt x="253" y="1013"/>
                </a:lnTo>
                <a:lnTo>
                  <a:pt x="255" y="1013"/>
                </a:lnTo>
                <a:lnTo>
                  <a:pt x="258" y="1013"/>
                </a:lnTo>
                <a:lnTo>
                  <a:pt x="265" y="1015"/>
                </a:lnTo>
                <a:lnTo>
                  <a:pt x="269" y="1018"/>
                </a:lnTo>
                <a:lnTo>
                  <a:pt x="269" y="1013"/>
                </a:lnTo>
                <a:lnTo>
                  <a:pt x="262" y="1011"/>
                </a:lnTo>
                <a:lnTo>
                  <a:pt x="265" y="1008"/>
                </a:lnTo>
                <a:lnTo>
                  <a:pt x="269" y="1004"/>
                </a:lnTo>
                <a:lnTo>
                  <a:pt x="274" y="999"/>
                </a:lnTo>
                <a:lnTo>
                  <a:pt x="281" y="996"/>
                </a:lnTo>
                <a:lnTo>
                  <a:pt x="286" y="996"/>
                </a:lnTo>
                <a:lnTo>
                  <a:pt x="293" y="996"/>
                </a:lnTo>
                <a:lnTo>
                  <a:pt x="298" y="1001"/>
                </a:lnTo>
                <a:lnTo>
                  <a:pt x="300" y="999"/>
                </a:lnTo>
                <a:lnTo>
                  <a:pt x="303" y="999"/>
                </a:lnTo>
                <a:lnTo>
                  <a:pt x="303" y="1001"/>
                </a:lnTo>
                <a:lnTo>
                  <a:pt x="305" y="1004"/>
                </a:lnTo>
                <a:lnTo>
                  <a:pt x="305" y="1004"/>
                </a:lnTo>
                <a:lnTo>
                  <a:pt x="307" y="1001"/>
                </a:lnTo>
                <a:lnTo>
                  <a:pt x="310" y="999"/>
                </a:lnTo>
                <a:lnTo>
                  <a:pt x="310" y="996"/>
                </a:lnTo>
                <a:lnTo>
                  <a:pt x="307" y="992"/>
                </a:lnTo>
                <a:lnTo>
                  <a:pt x="312" y="992"/>
                </a:lnTo>
                <a:lnTo>
                  <a:pt x="317" y="989"/>
                </a:lnTo>
                <a:lnTo>
                  <a:pt x="322" y="987"/>
                </a:lnTo>
                <a:lnTo>
                  <a:pt x="333" y="985"/>
                </a:lnTo>
                <a:lnTo>
                  <a:pt x="333" y="987"/>
                </a:lnTo>
                <a:lnTo>
                  <a:pt x="333" y="989"/>
                </a:lnTo>
                <a:lnTo>
                  <a:pt x="331" y="994"/>
                </a:lnTo>
                <a:lnTo>
                  <a:pt x="331" y="996"/>
                </a:lnTo>
                <a:lnTo>
                  <a:pt x="336" y="996"/>
                </a:lnTo>
                <a:lnTo>
                  <a:pt x="336" y="999"/>
                </a:lnTo>
                <a:lnTo>
                  <a:pt x="333" y="999"/>
                </a:lnTo>
                <a:lnTo>
                  <a:pt x="333" y="1004"/>
                </a:lnTo>
                <a:lnTo>
                  <a:pt x="336" y="1004"/>
                </a:lnTo>
                <a:lnTo>
                  <a:pt x="338" y="1008"/>
                </a:lnTo>
                <a:lnTo>
                  <a:pt x="338" y="1013"/>
                </a:lnTo>
                <a:lnTo>
                  <a:pt x="336" y="1018"/>
                </a:lnTo>
                <a:lnTo>
                  <a:pt x="345" y="1008"/>
                </a:lnTo>
                <a:lnTo>
                  <a:pt x="348" y="1008"/>
                </a:lnTo>
                <a:lnTo>
                  <a:pt x="355" y="1008"/>
                </a:lnTo>
                <a:lnTo>
                  <a:pt x="352" y="1011"/>
                </a:lnTo>
                <a:lnTo>
                  <a:pt x="350" y="1013"/>
                </a:lnTo>
                <a:lnTo>
                  <a:pt x="350" y="1015"/>
                </a:lnTo>
                <a:lnTo>
                  <a:pt x="352" y="1020"/>
                </a:lnTo>
                <a:lnTo>
                  <a:pt x="362" y="1025"/>
                </a:lnTo>
                <a:lnTo>
                  <a:pt x="364" y="1030"/>
                </a:lnTo>
                <a:lnTo>
                  <a:pt x="366" y="1027"/>
                </a:lnTo>
                <a:lnTo>
                  <a:pt x="364" y="1025"/>
                </a:lnTo>
                <a:lnTo>
                  <a:pt x="366" y="1023"/>
                </a:lnTo>
                <a:lnTo>
                  <a:pt x="366" y="1018"/>
                </a:lnTo>
                <a:lnTo>
                  <a:pt x="364" y="1015"/>
                </a:lnTo>
                <a:lnTo>
                  <a:pt x="364" y="1006"/>
                </a:lnTo>
                <a:lnTo>
                  <a:pt x="366" y="1006"/>
                </a:lnTo>
                <a:lnTo>
                  <a:pt x="366" y="1008"/>
                </a:lnTo>
                <a:lnTo>
                  <a:pt x="366" y="1011"/>
                </a:lnTo>
                <a:lnTo>
                  <a:pt x="369" y="1013"/>
                </a:lnTo>
                <a:lnTo>
                  <a:pt x="369" y="1006"/>
                </a:lnTo>
                <a:lnTo>
                  <a:pt x="371" y="996"/>
                </a:lnTo>
                <a:lnTo>
                  <a:pt x="374" y="992"/>
                </a:lnTo>
                <a:lnTo>
                  <a:pt x="376" y="996"/>
                </a:lnTo>
                <a:lnTo>
                  <a:pt x="378" y="994"/>
                </a:lnTo>
                <a:lnTo>
                  <a:pt x="378" y="992"/>
                </a:lnTo>
                <a:lnTo>
                  <a:pt x="378" y="989"/>
                </a:lnTo>
                <a:lnTo>
                  <a:pt x="378" y="987"/>
                </a:lnTo>
                <a:lnTo>
                  <a:pt x="381" y="992"/>
                </a:lnTo>
                <a:lnTo>
                  <a:pt x="388" y="994"/>
                </a:lnTo>
                <a:lnTo>
                  <a:pt x="400" y="994"/>
                </a:lnTo>
                <a:lnTo>
                  <a:pt x="402" y="994"/>
                </a:lnTo>
                <a:lnTo>
                  <a:pt x="409" y="1001"/>
                </a:lnTo>
                <a:lnTo>
                  <a:pt x="411" y="1004"/>
                </a:lnTo>
                <a:lnTo>
                  <a:pt x="416" y="1004"/>
                </a:lnTo>
                <a:lnTo>
                  <a:pt x="426" y="1001"/>
                </a:lnTo>
                <a:lnTo>
                  <a:pt x="426" y="1008"/>
                </a:lnTo>
                <a:lnTo>
                  <a:pt x="433" y="1011"/>
                </a:lnTo>
                <a:lnTo>
                  <a:pt x="440" y="1011"/>
                </a:lnTo>
                <a:lnTo>
                  <a:pt x="445" y="1008"/>
                </a:lnTo>
                <a:lnTo>
                  <a:pt x="442" y="999"/>
                </a:lnTo>
                <a:lnTo>
                  <a:pt x="442" y="992"/>
                </a:lnTo>
                <a:lnTo>
                  <a:pt x="442" y="989"/>
                </a:lnTo>
                <a:lnTo>
                  <a:pt x="459" y="987"/>
                </a:lnTo>
                <a:lnTo>
                  <a:pt x="454" y="985"/>
                </a:lnTo>
                <a:lnTo>
                  <a:pt x="445" y="973"/>
                </a:lnTo>
                <a:lnTo>
                  <a:pt x="445" y="966"/>
                </a:lnTo>
                <a:lnTo>
                  <a:pt x="447" y="961"/>
                </a:lnTo>
                <a:lnTo>
                  <a:pt x="454" y="959"/>
                </a:lnTo>
                <a:lnTo>
                  <a:pt x="461" y="947"/>
                </a:lnTo>
                <a:lnTo>
                  <a:pt x="463" y="944"/>
                </a:lnTo>
                <a:lnTo>
                  <a:pt x="466" y="944"/>
                </a:lnTo>
                <a:lnTo>
                  <a:pt x="468" y="947"/>
                </a:lnTo>
                <a:lnTo>
                  <a:pt x="475" y="947"/>
                </a:lnTo>
                <a:lnTo>
                  <a:pt x="485" y="954"/>
                </a:lnTo>
                <a:lnTo>
                  <a:pt x="489" y="954"/>
                </a:lnTo>
                <a:lnTo>
                  <a:pt x="487" y="956"/>
                </a:lnTo>
                <a:lnTo>
                  <a:pt x="487" y="956"/>
                </a:lnTo>
                <a:lnTo>
                  <a:pt x="487" y="959"/>
                </a:lnTo>
                <a:lnTo>
                  <a:pt x="485" y="959"/>
                </a:lnTo>
                <a:lnTo>
                  <a:pt x="492" y="961"/>
                </a:lnTo>
                <a:lnTo>
                  <a:pt x="497" y="961"/>
                </a:lnTo>
                <a:lnTo>
                  <a:pt x="499" y="959"/>
                </a:lnTo>
                <a:lnTo>
                  <a:pt x="501" y="956"/>
                </a:lnTo>
                <a:lnTo>
                  <a:pt x="504" y="954"/>
                </a:lnTo>
                <a:lnTo>
                  <a:pt x="527" y="947"/>
                </a:lnTo>
                <a:lnTo>
                  <a:pt x="530" y="944"/>
                </a:lnTo>
                <a:lnTo>
                  <a:pt x="532" y="944"/>
                </a:lnTo>
                <a:lnTo>
                  <a:pt x="534" y="944"/>
                </a:lnTo>
                <a:lnTo>
                  <a:pt x="544" y="935"/>
                </a:lnTo>
                <a:lnTo>
                  <a:pt x="549" y="935"/>
                </a:lnTo>
                <a:lnTo>
                  <a:pt x="551" y="942"/>
                </a:lnTo>
                <a:lnTo>
                  <a:pt x="549" y="949"/>
                </a:lnTo>
                <a:lnTo>
                  <a:pt x="546" y="959"/>
                </a:lnTo>
                <a:lnTo>
                  <a:pt x="544" y="961"/>
                </a:lnTo>
                <a:lnTo>
                  <a:pt x="544" y="963"/>
                </a:lnTo>
                <a:lnTo>
                  <a:pt x="544" y="966"/>
                </a:lnTo>
                <a:lnTo>
                  <a:pt x="546" y="968"/>
                </a:lnTo>
                <a:lnTo>
                  <a:pt x="546" y="963"/>
                </a:lnTo>
                <a:lnTo>
                  <a:pt x="549" y="959"/>
                </a:lnTo>
                <a:lnTo>
                  <a:pt x="558" y="949"/>
                </a:lnTo>
                <a:lnTo>
                  <a:pt x="565" y="942"/>
                </a:lnTo>
                <a:lnTo>
                  <a:pt x="568" y="940"/>
                </a:lnTo>
                <a:lnTo>
                  <a:pt x="570" y="942"/>
                </a:lnTo>
                <a:lnTo>
                  <a:pt x="575" y="935"/>
                </a:lnTo>
                <a:lnTo>
                  <a:pt x="579" y="935"/>
                </a:lnTo>
                <a:lnTo>
                  <a:pt x="582" y="937"/>
                </a:lnTo>
                <a:lnTo>
                  <a:pt x="584" y="940"/>
                </a:lnTo>
                <a:lnTo>
                  <a:pt x="584" y="944"/>
                </a:lnTo>
                <a:lnTo>
                  <a:pt x="582" y="949"/>
                </a:lnTo>
                <a:lnTo>
                  <a:pt x="582" y="952"/>
                </a:lnTo>
                <a:lnTo>
                  <a:pt x="587" y="954"/>
                </a:lnTo>
                <a:lnTo>
                  <a:pt x="584" y="959"/>
                </a:lnTo>
                <a:lnTo>
                  <a:pt x="579" y="968"/>
                </a:lnTo>
                <a:lnTo>
                  <a:pt x="577" y="973"/>
                </a:lnTo>
                <a:lnTo>
                  <a:pt x="572" y="980"/>
                </a:lnTo>
                <a:lnTo>
                  <a:pt x="572" y="985"/>
                </a:lnTo>
                <a:lnTo>
                  <a:pt x="572" y="985"/>
                </a:lnTo>
                <a:lnTo>
                  <a:pt x="584" y="966"/>
                </a:lnTo>
                <a:lnTo>
                  <a:pt x="589" y="956"/>
                </a:lnTo>
                <a:lnTo>
                  <a:pt x="594" y="959"/>
                </a:lnTo>
                <a:lnTo>
                  <a:pt x="596" y="956"/>
                </a:lnTo>
                <a:lnTo>
                  <a:pt x="601" y="956"/>
                </a:lnTo>
                <a:lnTo>
                  <a:pt x="603" y="956"/>
                </a:lnTo>
                <a:lnTo>
                  <a:pt x="605" y="959"/>
                </a:lnTo>
                <a:lnTo>
                  <a:pt x="603" y="961"/>
                </a:lnTo>
                <a:lnTo>
                  <a:pt x="603" y="961"/>
                </a:lnTo>
                <a:lnTo>
                  <a:pt x="605" y="961"/>
                </a:lnTo>
                <a:lnTo>
                  <a:pt x="605" y="963"/>
                </a:lnTo>
                <a:lnTo>
                  <a:pt x="605" y="963"/>
                </a:lnTo>
                <a:lnTo>
                  <a:pt x="603" y="966"/>
                </a:lnTo>
                <a:lnTo>
                  <a:pt x="601" y="966"/>
                </a:lnTo>
                <a:lnTo>
                  <a:pt x="596" y="970"/>
                </a:lnTo>
                <a:lnTo>
                  <a:pt x="596" y="973"/>
                </a:lnTo>
                <a:lnTo>
                  <a:pt x="598" y="973"/>
                </a:lnTo>
                <a:lnTo>
                  <a:pt x="598" y="975"/>
                </a:lnTo>
                <a:lnTo>
                  <a:pt x="605" y="980"/>
                </a:lnTo>
                <a:lnTo>
                  <a:pt x="620" y="980"/>
                </a:lnTo>
                <a:lnTo>
                  <a:pt x="624" y="982"/>
                </a:lnTo>
                <a:lnTo>
                  <a:pt x="624" y="987"/>
                </a:lnTo>
                <a:lnTo>
                  <a:pt x="624" y="989"/>
                </a:lnTo>
                <a:lnTo>
                  <a:pt x="624" y="992"/>
                </a:lnTo>
                <a:lnTo>
                  <a:pt x="622" y="994"/>
                </a:lnTo>
                <a:lnTo>
                  <a:pt x="622" y="994"/>
                </a:lnTo>
                <a:lnTo>
                  <a:pt x="622" y="996"/>
                </a:lnTo>
                <a:lnTo>
                  <a:pt x="624" y="999"/>
                </a:lnTo>
                <a:lnTo>
                  <a:pt x="629" y="1004"/>
                </a:lnTo>
                <a:lnTo>
                  <a:pt x="634" y="1008"/>
                </a:lnTo>
                <a:lnTo>
                  <a:pt x="636" y="1013"/>
                </a:lnTo>
                <a:lnTo>
                  <a:pt x="653" y="1030"/>
                </a:lnTo>
                <a:lnTo>
                  <a:pt x="655" y="1044"/>
                </a:lnTo>
                <a:lnTo>
                  <a:pt x="657" y="1046"/>
                </a:lnTo>
                <a:lnTo>
                  <a:pt x="657" y="1049"/>
                </a:lnTo>
                <a:lnTo>
                  <a:pt x="657" y="1051"/>
                </a:lnTo>
                <a:lnTo>
                  <a:pt x="655" y="1053"/>
                </a:lnTo>
                <a:lnTo>
                  <a:pt x="657" y="1056"/>
                </a:lnTo>
                <a:lnTo>
                  <a:pt x="657" y="1058"/>
                </a:lnTo>
                <a:lnTo>
                  <a:pt x="662" y="1058"/>
                </a:lnTo>
                <a:lnTo>
                  <a:pt x="669" y="1065"/>
                </a:lnTo>
                <a:lnTo>
                  <a:pt x="684" y="1072"/>
                </a:lnTo>
                <a:lnTo>
                  <a:pt x="684" y="1077"/>
                </a:lnTo>
                <a:lnTo>
                  <a:pt x="681" y="1079"/>
                </a:lnTo>
                <a:lnTo>
                  <a:pt x="681" y="1082"/>
                </a:lnTo>
                <a:lnTo>
                  <a:pt x="679" y="1084"/>
                </a:lnTo>
                <a:lnTo>
                  <a:pt x="681" y="1084"/>
                </a:lnTo>
                <a:lnTo>
                  <a:pt x="684" y="1086"/>
                </a:lnTo>
                <a:lnTo>
                  <a:pt x="686" y="1089"/>
                </a:lnTo>
                <a:lnTo>
                  <a:pt x="688" y="1091"/>
                </a:lnTo>
                <a:lnTo>
                  <a:pt x="693" y="1096"/>
                </a:lnTo>
                <a:lnTo>
                  <a:pt x="693" y="1091"/>
                </a:lnTo>
                <a:lnTo>
                  <a:pt x="693" y="1084"/>
                </a:lnTo>
                <a:lnTo>
                  <a:pt x="695" y="1082"/>
                </a:lnTo>
                <a:lnTo>
                  <a:pt x="705" y="1082"/>
                </a:lnTo>
                <a:lnTo>
                  <a:pt x="710" y="1082"/>
                </a:lnTo>
                <a:lnTo>
                  <a:pt x="717" y="1075"/>
                </a:lnTo>
                <a:lnTo>
                  <a:pt x="724" y="1065"/>
                </a:lnTo>
                <a:lnTo>
                  <a:pt x="726" y="1063"/>
                </a:lnTo>
                <a:lnTo>
                  <a:pt x="728" y="1060"/>
                </a:lnTo>
                <a:lnTo>
                  <a:pt x="733" y="1058"/>
                </a:lnTo>
                <a:lnTo>
                  <a:pt x="752" y="1046"/>
                </a:lnTo>
                <a:lnTo>
                  <a:pt x="757" y="1041"/>
                </a:lnTo>
                <a:lnTo>
                  <a:pt x="757" y="1039"/>
                </a:lnTo>
                <a:lnTo>
                  <a:pt x="754" y="1039"/>
                </a:lnTo>
                <a:lnTo>
                  <a:pt x="750" y="1037"/>
                </a:lnTo>
                <a:lnTo>
                  <a:pt x="762" y="1032"/>
                </a:lnTo>
                <a:lnTo>
                  <a:pt x="769" y="1034"/>
                </a:lnTo>
                <a:lnTo>
                  <a:pt x="771" y="1039"/>
                </a:lnTo>
                <a:lnTo>
                  <a:pt x="778" y="1037"/>
                </a:lnTo>
                <a:lnTo>
                  <a:pt x="788" y="1032"/>
                </a:lnTo>
                <a:lnTo>
                  <a:pt x="795" y="1025"/>
                </a:lnTo>
                <a:lnTo>
                  <a:pt x="797" y="1018"/>
                </a:lnTo>
                <a:lnTo>
                  <a:pt x="799" y="1023"/>
                </a:lnTo>
                <a:lnTo>
                  <a:pt x="802" y="1025"/>
                </a:lnTo>
                <a:lnTo>
                  <a:pt x="804" y="1027"/>
                </a:lnTo>
                <a:lnTo>
                  <a:pt x="807" y="1027"/>
                </a:lnTo>
                <a:lnTo>
                  <a:pt x="807" y="1030"/>
                </a:lnTo>
                <a:lnTo>
                  <a:pt x="804" y="1032"/>
                </a:lnTo>
                <a:lnTo>
                  <a:pt x="804" y="1034"/>
                </a:lnTo>
                <a:lnTo>
                  <a:pt x="802" y="1037"/>
                </a:lnTo>
                <a:lnTo>
                  <a:pt x="802" y="1039"/>
                </a:lnTo>
                <a:lnTo>
                  <a:pt x="792" y="1046"/>
                </a:lnTo>
                <a:lnTo>
                  <a:pt x="797" y="1051"/>
                </a:lnTo>
                <a:lnTo>
                  <a:pt x="804" y="1046"/>
                </a:lnTo>
                <a:lnTo>
                  <a:pt x="809" y="1041"/>
                </a:lnTo>
                <a:lnTo>
                  <a:pt x="816" y="1039"/>
                </a:lnTo>
                <a:lnTo>
                  <a:pt x="818" y="1041"/>
                </a:lnTo>
                <a:lnTo>
                  <a:pt x="818" y="1051"/>
                </a:lnTo>
                <a:lnTo>
                  <a:pt x="818" y="1053"/>
                </a:lnTo>
                <a:lnTo>
                  <a:pt x="823" y="1056"/>
                </a:lnTo>
                <a:lnTo>
                  <a:pt x="825" y="1058"/>
                </a:lnTo>
                <a:lnTo>
                  <a:pt x="825" y="1063"/>
                </a:lnTo>
                <a:lnTo>
                  <a:pt x="825" y="1067"/>
                </a:lnTo>
                <a:lnTo>
                  <a:pt x="828" y="1065"/>
                </a:lnTo>
                <a:lnTo>
                  <a:pt x="830" y="1063"/>
                </a:lnTo>
                <a:lnTo>
                  <a:pt x="833" y="1058"/>
                </a:lnTo>
                <a:lnTo>
                  <a:pt x="833" y="1053"/>
                </a:lnTo>
                <a:lnTo>
                  <a:pt x="833" y="1060"/>
                </a:lnTo>
                <a:lnTo>
                  <a:pt x="835" y="1065"/>
                </a:lnTo>
                <a:lnTo>
                  <a:pt x="837" y="1067"/>
                </a:lnTo>
                <a:lnTo>
                  <a:pt x="842" y="1065"/>
                </a:lnTo>
                <a:lnTo>
                  <a:pt x="842" y="1063"/>
                </a:lnTo>
                <a:lnTo>
                  <a:pt x="840" y="1063"/>
                </a:lnTo>
                <a:lnTo>
                  <a:pt x="837" y="1060"/>
                </a:lnTo>
                <a:lnTo>
                  <a:pt x="842" y="1056"/>
                </a:lnTo>
                <a:lnTo>
                  <a:pt x="844" y="1053"/>
                </a:lnTo>
                <a:lnTo>
                  <a:pt x="847" y="1053"/>
                </a:lnTo>
                <a:lnTo>
                  <a:pt x="852" y="1058"/>
                </a:lnTo>
                <a:lnTo>
                  <a:pt x="849" y="1053"/>
                </a:lnTo>
                <a:lnTo>
                  <a:pt x="847" y="1051"/>
                </a:lnTo>
                <a:lnTo>
                  <a:pt x="847" y="1046"/>
                </a:lnTo>
                <a:lnTo>
                  <a:pt x="859" y="1041"/>
                </a:lnTo>
                <a:lnTo>
                  <a:pt x="873" y="1039"/>
                </a:lnTo>
                <a:lnTo>
                  <a:pt x="873" y="1041"/>
                </a:lnTo>
                <a:lnTo>
                  <a:pt x="878" y="1053"/>
                </a:lnTo>
                <a:lnTo>
                  <a:pt x="878" y="1058"/>
                </a:lnTo>
                <a:lnTo>
                  <a:pt x="880" y="1063"/>
                </a:lnTo>
                <a:lnTo>
                  <a:pt x="882" y="1065"/>
                </a:lnTo>
                <a:lnTo>
                  <a:pt x="887" y="1067"/>
                </a:lnTo>
                <a:lnTo>
                  <a:pt x="885" y="1070"/>
                </a:lnTo>
                <a:lnTo>
                  <a:pt x="885" y="1072"/>
                </a:lnTo>
                <a:lnTo>
                  <a:pt x="892" y="1084"/>
                </a:lnTo>
                <a:lnTo>
                  <a:pt x="892" y="1089"/>
                </a:lnTo>
                <a:lnTo>
                  <a:pt x="892" y="1098"/>
                </a:lnTo>
                <a:lnTo>
                  <a:pt x="894" y="1096"/>
                </a:lnTo>
                <a:lnTo>
                  <a:pt x="904" y="1091"/>
                </a:lnTo>
                <a:lnTo>
                  <a:pt x="894" y="1084"/>
                </a:lnTo>
                <a:lnTo>
                  <a:pt x="896" y="1082"/>
                </a:lnTo>
                <a:lnTo>
                  <a:pt x="892" y="1075"/>
                </a:lnTo>
                <a:lnTo>
                  <a:pt x="892" y="1067"/>
                </a:lnTo>
                <a:lnTo>
                  <a:pt x="894" y="1067"/>
                </a:lnTo>
                <a:lnTo>
                  <a:pt x="894" y="1070"/>
                </a:lnTo>
                <a:lnTo>
                  <a:pt x="896" y="1070"/>
                </a:lnTo>
                <a:lnTo>
                  <a:pt x="899" y="1072"/>
                </a:lnTo>
                <a:lnTo>
                  <a:pt x="896" y="1067"/>
                </a:lnTo>
                <a:lnTo>
                  <a:pt x="894" y="1065"/>
                </a:lnTo>
                <a:lnTo>
                  <a:pt x="892" y="1065"/>
                </a:lnTo>
                <a:lnTo>
                  <a:pt x="889" y="1063"/>
                </a:lnTo>
                <a:lnTo>
                  <a:pt x="887" y="1060"/>
                </a:lnTo>
                <a:lnTo>
                  <a:pt x="882" y="1049"/>
                </a:lnTo>
                <a:lnTo>
                  <a:pt x="878" y="1044"/>
                </a:lnTo>
                <a:lnTo>
                  <a:pt x="880" y="1039"/>
                </a:lnTo>
                <a:lnTo>
                  <a:pt x="882" y="1037"/>
                </a:lnTo>
                <a:lnTo>
                  <a:pt x="885" y="1032"/>
                </a:lnTo>
                <a:lnTo>
                  <a:pt x="889" y="1032"/>
                </a:lnTo>
                <a:lnTo>
                  <a:pt x="889" y="1030"/>
                </a:lnTo>
                <a:lnTo>
                  <a:pt x="889" y="1027"/>
                </a:lnTo>
                <a:lnTo>
                  <a:pt x="892" y="1025"/>
                </a:lnTo>
                <a:lnTo>
                  <a:pt x="894" y="1023"/>
                </a:lnTo>
                <a:lnTo>
                  <a:pt x="904" y="1023"/>
                </a:lnTo>
                <a:lnTo>
                  <a:pt x="904" y="1020"/>
                </a:lnTo>
                <a:lnTo>
                  <a:pt x="932" y="1015"/>
                </a:lnTo>
                <a:lnTo>
                  <a:pt x="930" y="1018"/>
                </a:lnTo>
                <a:lnTo>
                  <a:pt x="930" y="1018"/>
                </a:lnTo>
                <a:lnTo>
                  <a:pt x="932" y="1020"/>
                </a:lnTo>
                <a:lnTo>
                  <a:pt x="934" y="1025"/>
                </a:lnTo>
                <a:lnTo>
                  <a:pt x="925" y="1034"/>
                </a:lnTo>
                <a:lnTo>
                  <a:pt x="925" y="1046"/>
                </a:lnTo>
                <a:lnTo>
                  <a:pt x="932" y="1053"/>
                </a:lnTo>
                <a:lnTo>
                  <a:pt x="944" y="1056"/>
                </a:lnTo>
                <a:lnTo>
                  <a:pt x="965" y="1058"/>
                </a:lnTo>
                <a:lnTo>
                  <a:pt x="986" y="1053"/>
                </a:lnTo>
                <a:lnTo>
                  <a:pt x="1001" y="1046"/>
                </a:lnTo>
                <a:lnTo>
                  <a:pt x="1005" y="1046"/>
                </a:lnTo>
                <a:lnTo>
                  <a:pt x="1027" y="1049"/>
                </a:lnTo>
                <a:lnTo>
                  <a:pt x="1057" y="1044"/>
                </a:lnTo>
                <a:lnTo>
                  <a:pt x="1069" y="1046"/>
                </a:lnTo>
                <a:lnTo>
                  <a:pt x="1064" y="1039"/>
                </a:lnTo>
                <a:lnTo>
                  <a:pt x="1057" y="1037"/>
                </a:lnTo>
                <a:lnTo>
                  <a:pt x="1048" y="1034"/>
                </a:lnTo>
                <a:lnTo>
                  <a:pt x="1048" y="1037"/>
                </a:lnTo>
                <a:lnTo>
                  <a:pt x="1046" y="1037"/>
                </a:lnTo>
                <a:lnTo>
                  <a:pt x="1043" y="1039"/>
                </a:lnTo>
                <a:lnTo>
                  <a:pt x="1043" y="1037"/>
                </a:lnTo>
                <a:lnTo>
                  <a:pt x="1043" y="1034"/>
                </a:lnTo>
                <a:lnTo>
                  <a:pt x="1043" y="1032"/>
                </a:lnTo>
                <a:lnTo>
                  <a:pt x="1041" y="1030"/>
                </a:lnTo>
                <a:lnTo>
                  <a:pt x="1031" y="1027"/>
                </a:lnTo>
                <a:lnTo>
                  <a:pt x="1027" y="1025"/>
                </a:lnTo>
                <a:lnTo>
                  <a:pt x="1027" y="1023"/>
                </a:lnTo>
                <a:lnTo>
                  <a:pt x="1024" y="1011"/>
                </a:lnTo>
                <a:lnTo>
                  <a:pt x="1012" y="1001"/>
                </a:lnTo>
                <a:lnTo>
                  <a:pt x="1012" y="992"/>
                </a:lnTo>
                <a:lnTo>
                  <a:pt x="1012" y="980"/>
                </a:lnTo>
                <a:lnTo>
                  <a:pt x="1010" y="970"/>
                </a:lnTo>
                <a:lnTo>
                  <a:pt x="1008" y="963"/>
                </a:lnTo>
                <a:lnTo>
                  <a:pt x="1001" y="961"/>
                </a:lnTo>
                <a:lnTo>
                  <a:pt x="1001" y="959"/>
                </a:lnTo>
                <a:lnTo>
                  <a:pt x="1005" y="956"/>
                </a:lnTo>
                <a:lnTo>
                  <a:pt x="1008" y="952"/>
                </a:lnTo>
                <a:lnTo>
                  <a:pt x="1010" y="947"/>
                </a:lnTo>
                <a:lnTo>
                  <a:pt x="1012" y="928"/>
                </a:lnTo>
                <a:lnTo>
                  <a:pt x="1015" y="923"/>
                </a:lnTo>
                <a:lnTo>
                  <a:pt x="1017" y="925"/>
                </a:lnTo>
                <a:lnTo>
                  <a:pt x="1017" y="921"/>
                </a:lnTo>
                <a:lnTo>
                  <a:pt x="1019" y="918"/>
                </a:lnTo>
                <a:lnTo>
                  <a:pt x="1017" y="916"/>
                </a:lnTo>
                <a:lnTo>
                  <a:pt x="1015" y="914"/>
                </a:lnTo>
                <a:lnTo>
                  <a:pt x="1012" y="911"/>
                </a:lnTo>
                <a:lnTo>
                  <a:pt x="1017" y="888"/>
                </a:lnTo>
                <a:lnTo>
                  <a:pt x="1017" y="881"/>
                </a:lnTo>
                <a:lnTo>
                  <a:pt x="1022" y="878"/>
                </a:lnTo>
                <a:lnTo>
                  <a:pt x="1029" y="883"/>
                </a:lnTo>
                <a:lnTo>
                  <a:pt x="1029" y="881"/>
                </a:lnTo>
                <a:lnTo>
                  <a:pt x="1024" y="878"/>
                </a:lnTo>
                <a:lnTo>
                  <a:pt x="1017" y="878"/>
                </a:lnTo>
                <a:lnTo>
                  <a:pt x="1012" y="881"/>
                </a:lnTo>
                <a:lnTo>
                  <a:pt x="1010" y="888"/>
                </a:lnTo>
                <a:lnTo>
                  <a:pt x="1008" y="888"/>
                </a:lnTo>
                <a:lnTo>
                  <a:pt x="1008" y="885"/>
                </a:lnTo>
                <a:lnTo>
                  <a:pt x="1005" y="881"/>
                </a:lnTo>
                <a:lnTo>
                  <a:pt x="1003" y="878"/>
                </a:lnTo>
                <a:lnTo>
                  <a:pt x="1005" y="869"/>
                </a:lnTo>
                <a:lnTo>
                  <a:pt x="1005" y="864"/>
                </a:lnTo>
                <a:lnTo>
                  <a:pt x="1005" y="859"/>
                </a:lnTo>
                <a:lnTo>
                  <a:pt x="1003" y="857"/>
                </a:lnTo>
                <a:lnTo>
                  <a:pt x="1001" y="854"/>
                </a:lnTo>
                <a:lnTo>
                  <a:pt x="1001" y="850"/>
                </a:lnTo>
                <a:lnTo>
                  <a:pt x="1003" y="845"/>
                </a:lnTo>
                <a:lnTo>
                  <a:pt x="1005" y="838"/>
                </a:lnTo>
                <a:lnTo>
                  <a:pt x="1008" y="836"/>
                </a:lnTo>
                <a:lnTo>
                  <a:pt x="1012" y="833"/>
                </a:lnTo>
                <a:lnTo>
                  <a:pt x="1010" y="831"/>
                </a:lnTo>
                <a:lnTo>
                  <a:pt x="1008" y="831"/>
                </a:lnTo>
                <a:lnTo>
                  <a:pt x="1008" y="833"/>
                </a:lnTo>
                <a:lnTo>
                  <a:pt x="1005" y="826"/>
                </a:lnTo>
                <a:lnTo>
                  <a:pt x="1003" y="817"/>
                </a:lnTo>
                <a:lnTo>
                  <a:pt x="1003" y="810"/>
                </a:lnTo>
                <a:lnTo>
                  <a:pt x="1003" y="802"/>
                </a:lnTo>
                <a:lnTo>
                  <a:pt x="1003" y="798"/>
                </a:lnTo>
                <a:lnTo>
                  <a:pt x="1010" y="798"/>
                </a:lnTo>
                <a:lnTo>
                  <a:pt x="1019" y="800"/>
                </a:lnTo>
                <a:lnTo>
                  <a:pt x="1019" y="798"/>
                </a:lnTo>
                <a:lnTo>
                  <a:pt x="1012" y="795"/>
                </a:lnTo>
                <a:lnTo>
                  <a:pt x="1005" y="793"/>
                </a:lnTo>
                <a:lnTo>
                  <a:pt x="1001" y="793"/>
                </a:lnTo>
                <a:lnTo>
                  <a:pt x="998" y="800"/>
                </a:lnTo>
                <a:lnTo>
                  <a:pt x="993" y="795"/>
                </a:lnTo>
                <a:lnTo>
                  <a:pt x="989" y="779"/>
                </a:lnTo>
                <a:lnTo>
                  <a:pt x="986" y="774"/>
                </a:lnTo>
                <a:lnTo>
                  <a:pt x="986" y="772"/>
                </a:lnTo>
                <a:lnTo>
                  <a:pt x="989" y="772"/>
                </a:lnTo>
                <a:lnTo>
                  <a:pt x="989" y="772"/>
                </a:lnTo>
                <a:lnTo>
                  <a:pt x="982" y="765"/>
                </a:lnTo>
                <a:lnTo>
                  <a:pt x="977" y="760"/>
                </a:lnTo>
                <a:lnTo>
                  <a:pt x="977" y="753"/>
                </a:lnTo>
                <a:lnTo>
                  <a:pt x="982" y="753"/>
                </a:lnTo>
                <a:lnTo>
                  <a:pt x="982" y="750"/>
                </a:lnTo>
                <a:lnTo>
                  <a:pt x="979" y="741"/>
                </a:lnTo>
                <a:lnTo>
                  <a:pt x="977" y="741"/>
                </a:lnTo>
                <a:lnTo>
                  <a:pt x="975" y="748"/>
                </a:lnTo>
                <a:lnTo>
                  <a:pt x="970" y="746"/>
                </a:lnTo>
                <a:lnTo>
                  <a:pt x="963" y="739"/>
                </a:lnTo>
                <a:lnTo>
                  <a:pt x="958" y="736"/>
                </a:lnTo>
                <a:lnTo>
                  <a:pt x="958" y="731"/>
                </a:lnTo>
                <a:lnTo>
                  <a:pt x="958" y="731"/>
                </a:lnTo>
                <a:lnTo>
                  <a:pt x="960" y="729"/>
                </a:lnTo>
                <a:lnTo>
                  <a:pt x="956" y="729"/>
                </a:lnTo>
                <a:lnTo>
                  <a:pt x="951" y="731"/>
                </a:lnTo>
                <a:lnTo>
                  <a:pt x="949" y="731"/>
                </a:lnTo>
                <a:lnTo>
                  <a:pt x="946" y="729"/>
                </a:lnTo>
                <a:lnTo>
                  <a:pt x="946" y="724"/>
                </a:lnTo>
                <a:lnTo>
                  <a:pt x="946" y="708"/>
                </a:lnTo>
                <a:lnTo>
                  <a:pt x="946" y="703"/>
                </a:lnTo>
                <a:lnTo>
                  <a:pt x="946" y="701"/>
                </a:lnTo>
                <a:lnTo>
                  <a:pt x="944" y="696"/>
                </a:lnTo>
                <a:lnTo>
                  <a:pt x="941" y="689"/>
                </a:lnTo>
                <a:lnTo>
                  <a:pt x="941" y="686"/>
                </a:lnTo>
                <a:lnTo>
                  <a:pt x="941" y="684"/>
                </a:lnTo>
                <a:lnTo>
                  <a:pt x="939" y="682"/>
                </a:lnTo>
                <a:lnTo>
                  <a:pt x="937" y="677"/>
                </a:lnTo>
                <a:lnTo>
                  <a:pt x="930" y="667"/>
                </a:lnTo>
                <a:lnTo>
                  <a:pt x="930" y="665"/>
                </a:lnTo>
                <a:lnTo>
                  <a:pt x="930" y="660"/>
                </a:lnTo>
                <a:lnTo>
                  <a:pt x="939" y="653"/>
                </a:lnTo>
                <a:lnTo>
                  <a:pt x="941" y="649"/>
                </a:lnTo>
                <a:lnTo>
                  <a:pt x="941" y="634"/>
                </a:lnTo>
                <a:lnTo>
                  <a:pt x="941" y="627"/>
                </a:lnTo>
                <a:lnTo>
                  <a:pt x="939" y="623"/>
                </a:lnTo>
                <a:lnTo>
                  <a:pt x="939" y="618"/>
                </a:lnTo>
                <a:lnTo>
                  <a:pt x="937" y="613"/>
                </a:lnTo>
                <a:lnTo>
                  <a:pt x="934" y="611"/>
                </a:lnTo>
                <a:lnTo>
                  <a:pt x="925" y="608"/>
                </a:lnTo>
                <a:lnTo>
                  <a:pt x="913" y="604"/>
                </a:lnTo>
                <a:lnTo>
                  <a:pt x="915" y="592"/>
                </a:lnTo>
                <a:lnTo>
                  <a:pt x="915" y="587"/>
                </a:lnTo>
                <a:lnTo>
                  <a:pt x="918" y="582"/>
                </a:lnTo>
                <a:lnTo>
                  <a:pt x="925" y="582"/>
                </a:lnTo>
                <a:lnTo>
                  <a:pt x="927" y="582"/>
                </a:lnTo>
                <a:lnTo>
                  <a:pt x="932" y="587"/>
                </a:lnTo>
                <a:lnTo>
                  <a:pt x="934" y="589"/>
                </a:lnTo>
                <a:lnTo>
                  <a:pt x="944" y="587"/>
                </a:lnTo>
                <a:lnTo>
                  <a:pt x="946" y="589"/>
                </a:lnTo>
                <a:lnTo>
                  <a:pt x="946" y="589"/>
                </a:lnTo>
                <a:lnTo>
                  <a:pt x="949" y="596"/>
                </a:lnTo>
                <a:lnTo>
                  <a:pt x="949" y="599"/>
                </a:lnTo>
                <a:lnTo>
                  <a:pt x="951" y="599"/>
                </a:lnTo>
                <a:lnTo>
                  <a:pt x="953" y="596"/>
                </a:lnTo>
                <a:lnTo>
                  <a:pt x="956" y="599"/>
                </a:lnTo>
                <a:lnTo>
                  <a:pt x="960" y="601"/>
                </a:lnTo>
                <a:lnTo>
                  <a:pt x="979" y="604"/>
                </a:lnTo>
                <a:lnTo>
                  <a:pt x="1001" y="611"/>
                </a:lnTo>
                <a:lnTo>
                  <a:pt x="1003" y="611"/>
                </a:lnTo>
                <a:lnTo>
                  <a:pt x="1003" y="611"/>
                </a:lnTo>
                <a:lnTo>
                  <a:pt x="1005" y="613"/>
                </a:lnTo>
                <a:lnTo>
                  <a:pt x="1005" y="615"/>
                </a:lnTo>
                <a:lnTo>
                  <a:pt x="1008" y="618"/>
                </a:lnTo>
                <a:lnTo>
                  <a:pt x="1010" y="615"/>
                </a:lnTo>
                <a:lnTo>
                  <a:pt x="1012" y="611"/>
                </a:lnTo>
                <a:lnTo>
                  <a:pt x="1017" y="611"/>
                </a:lnTo>
                <a:lnTo>
                  <a:pt x="1019" y="611"/>
                </a:lnTo>
                <a:lnTo>
                  <a:pt x="1024" y="613"/>
                </a:lnTo>
                <a:lnTo>
                  <a:pt x="1029" y="613"/>
                </a:lnTo>
                <a:lnTo>
                  <a:pt x="1034" y="611"/>
                </a:lnTo>
                <a:lnTo>
                  <a:pt x="1038" y="608"/>
                </a:lnTo>
                <a:lnTo>
                  <a:pt x="1046" y="599"/>
                </a:lnTo>
                <a:lnTo>
                  <a:pt x="1048" y="594"/>
                </a:lnTo>
                <a:lnTo>
                  <a:pt x="1062" y="592"/>
                </a:lnTo>
                <a:lnTo>
                  <a:pt x="1067" y="592"/>
                </a:lnTo>
                <a:lnTo>
                  <a:pt x="1100" y="599"/>
                </a:lnTo>
                <a:lnTo>
                  <a:pt x="1102" y="599"/>
                </a:lnTo>
                <a:lnTo>
                  <a:pt x="1102" y="601"/>
                </a:lnTo>
                <a:lnTo>
                  <a:pt x="1105" y="608"/>
                </a:lnTo>
                <a:lnTo>
                  <a:pt x="1109" y="623"/>
                </a:lnTo>
                <a:lnTo>
                  <a:pt x="1112" y="630"/>
                </a:lnTo>
                <a:lnTo>
                  <a:pt x="1105" y="634"/>
                </a:lnTo>
                <a:lnTo>
                  <a:pt x="1102" y="639"/>
                </a:lnTo>
                <a:lnTo>
                  <a:pt x="1102" y="641"/>
                </a:lnTo>
                <a:lnTo>
                  <a:pt x="1100" y="644"/>
                </a:lnTo>
                <a:lnTo>
                  <a:pt x="1095" y="644"/>
                </a:lnTo>
                <a:lnTo>
                  <a:pt x="1093" y="646"/>
                </a:lnTo>
                <a:lnTo>
                  <a:pt x="1090" y="646"/>
                </a:lnTo>
                <a:lnTo>
                  <a:pt x="1088" y="658"/>
                </a:lnTo>
                <a:lnTo>
                  <a:pt x="1093" y="665"/>
                </a:lnTo>
                <a:lnTo>
                  <a:pt x="1098" y="672"/>
                </a:lnTo>
                <a:lnTo>
                  <a:pt x="1100" y="684"/>
                </a:lnTo>
                <a:lnTo>
                  <a:pt x="1121" y="712"/>
                </a:lnTo>
                <a:lnTo>
                  <a:pt x="1124" y="720"/>
                </a:lnTo>
                <a:lnTo>
                  <a:pt x="1126" y="729"/>
                </a:lnTo>
                <a:lnTo>
                  <a:pt x="1124" y="734"/>
                </a:lnTo>
                <a:lnTo>
                  <a:pt x="1124" y="736"/>
                </a:lnTo>
                <a:lnTo>
                  <a:pt x="1121" y="739"/>
                </a:lnTo>
                <a:lnTo>
                  <a:pt x="1121" y="739"/>
                </a:lnTo>
                <a:lnTo>
                  <a:pt x="1121" y="743"/>
                </a:lnTo>
                <a:lnTo>
                  <a:pt x="1124" y="743"/>
                </a:lnTo>
                <a:lnTo>
                  <a:pt x="1128" y="741"/>
                </a:lnTo>
                <a:lnTo>
                  <a:pt x="1131" y="741"/>
                </a:lnTo>
                <a:lnTo>
                  <a:pt x="1133" y="743"/>
                </a:lnTo>
                <a:lnTo>
                  <a:pt x="1135" y="748"/>
                </a:lnTo>
                <a:lnTo>
                  <a:pt x="1138" y="748"/>
                </a:lnTo>
                <a:lnTo>
                  <a:pt x="1145" y="748"/>
                </a:lnTo>
                <a:lnTo>
                  <a:pt x="1145" y="743"/>
                </a:lnTo>
                <a:lnTo>
                  <a:pt x="1140" y="741"/>
                </a:lnTo>
                <a:lnTo>
                  <a:pt x="1143" y="734"/>
                </a:lnTo>
                <a:lnTo>
                  <a:pt x="1147" y="729"/>
                </a:lnTo>
                <a:lnTo>
                  <a:pt x="1152" y="727"/>
                </a:lnTo>
                <a:lnTo>
                  <a:pt x="1190" y="729"/>
                </a:lnTo>
                <a:lnTo>
                  <a:pt x="1223" y="743"/>
                </a:lnTo>
                <a:lnTo>
                  <a:pt x="1270" y="746"/>
                </a:lnTo>
                <a:lnTo>
                  <a:pt x="1282" y="750"/>
                </a:lnTo>
                <a:lnTo>
                  <a:pt x="1289" y="750"/>
                </a:lnTo>
                <a:lnTo>
                  <a:pt x="1299" y="746"/>
                </a:lnTo>
                <a:lnTo>
                  <a:pt x="1306" y="746"/>
                </a:lnTo>
                <a:lnTo>
                  <a:pt x="1318" y="753"/>
                </a:lnTo>
                <a:lnTo>
                  <a:pt x="1337" y="753"/>
                </a:lnTo>
                <a:lnTo>
                  <a:pt x="1341" y="753"/>
                </a:lnTo>
                <a:lnTo>
                  <a:pt x="1351" y="760"/>
                </a:lnTo>
                <a:lnTo>
                  <a:pt x="1365" y="762"/>
                </a:lnTo>
                <a:lnTo>
                  <a:pt x="1391" y="779"/>
                </a:lnTo>
                <a:lnTo>
                  <a:pt x="1398" y="772"/>
                </a:lnTo>
                <a:lnTo>
                  <a:pt x="1441" y="762"/>
                </a:lnTo>
                <a:lnTo>
                  <a:pt x="1455" y="755"/>
                </a:lnTo>
                <a:lnTo>
                  <a:pt x="1462" y="748"/>
                </a:lnTo>
                <a:lnTo>
                  <a:pt x="1469" y="748"/>
                </a:lnTo>
                <a:lnTo>
                  <a:pt x="1471" y="746"/>
                </a:lnTo>
                <a:lnTo>
                  <a:pt x="1479" y="734"/>
                </a:lnTo>
                <a:lnTo>
                  <a:pt x="1497" y="722"/>
                </a:lnTo>
                <a:lnTo>
                  <a:pt x="1566" y="705"/>
                </a:lnTo>
                <a:lnTo>
                  <a:pt x="1578" y="698"/>
                </a:lnTo>
                <a:lnTo>
                  <a:pt x="1583" y="694"/>
                </a:lnTo>
                <a:lnTo>
                  <a:pt x="1587" y="686"/>
                </a:lnTo>
                <a:lnTo>
                  <a:pt x="1568" y="701"/>
                </a:lnTo>
                <a:lnTo>
                  <a:pt x="1545" y="703"/>
                </a:lnTo>
                <a:lnTo>
                  <a:pt x="1523" y="701"/>
                </a:lnTo>
                <a:lnTo>
                  <a:pt x="1502" y="694"/>
                </a:lnTo>
                <a:lnTo>
                  <a:pt x="1497" y="694"/>
                </a:lnTo>
                <a:lnTo>
                  <a:pt x="1493" y="694"/>
                </a:lnTo>
                <a:lnTo>
                  <a:pt x="1486" y="691"/>
                </a:lnTo>
                <a:lnTo>
                  <a:pt x="1481" y="689"/>
                </a:lnTo>
                <a:lnTo>
                  <a:pt x="1479" y="684"/>
                </a:lnTo>
                <a:lnTo>
                  <a:pt x="1476" y="682"/>
                </a:lnTo>
                <a:lnTo>
                  <a:pt x="1474" y="679"/>
                </a:lnTo>
                <a:lnTo>
                  <a:pt x="1471" y="675"/>
                </a:lnTo>
                <a:lnTo>
                  <a:pt x="1471" y="670"/>
                </a:lnTo>
                <a:lnTo>
                  <a:pt x="1474" y="667"/>
                </a:lnTo>
                <a:lnTo>
                  <a:pt x="1488" y="641"/>
                </a:lnTo>
                <a:lnTo>
                  <a:pt x="1497" y="604"/>
                </a:lnTo>
                <a:lnTo>
                  <a:pt x="1502" y="599"/>
                </a:lnTo>
                <a:lnTo>
                  <a:pt x="1516" y="587"/>
                </a:lnTo>
                <a:lnTo>
                  <a:pt x="1519" y="587"/>
                </a:lnTo>
                <a:lnTo>
                  <a:pt x="1521" y="585"/>
                </a:lnTo>
                <a:lnTo>
                  <a:pt x="1559" y="568"/>
                </a:lnTo>
                <a:lnTo>
                  <a:pt x="1561" y="563"/>
                </a:lnTo>
                <a:lnTo>
                  <a:pt x="1594" y="542"/>
                </a:lnTo>
                <a:lnTo>
                  <a:pt x="1604" y="540"/>
                </a:lnTo>
                <a:lnTo>
                  <a:pt x="1616" y="533"/>
                </a:lnTo>
                <a:lnTo>
                  <a:pt x="1637" y="523"/>
                </a:lnTo>
                <a:lnTo>
                  <a:pt x="1661" y="523"/>
                </a:lnTo>
                <a:lnTo>
                  <a:pt x="1774" y="485"/>
                </a:lnTo>
                <a:lnTo>
                  <a:pt x="1779" y="481"/>
                </a:lnTo>
                <a:lnTo>
                  <a:pt x="1786" y="478"/>
                </a:lnTo>
                <a:lnTo>
                  <a:pt x="1798" y="466"/>
                </a:lnTo>
                <a:lnTo>
                  <a:pt x="1833" y="438"/>
                </a:lnTo>
                <a:lnTo>
                  <a:pt x="1848" y="419"/>
                </a:lnTo>
                <a:lnTo>
                  <a:pt x="1850" y="417"/>
                </a:lnTo>
                <a:lnTo>
                  <a:pt x="1852" y="412"/>
                </a:lnTo>
                <a:lnTo>
                  <a:pt x="1857" y="391"/>
                </a:lnTo>
                <a:lnTo>
                  <a:pt x="1867" y="376"/>
                </a:lnTo>
                <a:lnTo>
                  <a:pt x="1876" y="376"/>
                </a:lnTo>
                <a:lnTo>
                  <a:pt x="1904" y="388"/>
                </a:lnTo>
                <a:lnTo>
                  <a:pt x="1907" y="388"/>
                </a:lnTo>
                <a:lnTo>
                  <a:pt x="1909" y="386"/>
                </a:lnTo>
                <a:lnTo>
                  <a:pt x="1909" y="383"/>
                </a:lnTo>
                <a:lnTo>
                  <a:pt x="1907" y="383"/>
                </a:lnTo>
                <a:lnTo>
                  <a:pt x="1904" y="381"/>
                </a:lnTo>
                <a:lnTo>
                  <a:pt x="1902" y="381"/>
                </a:lnTo>
                <a:lnTo>
                  <a:pt x="1900" y="376"/>
                </a:lnTo>
                <a:lnTo>
                  <a:pt x="1907" y="376"/>
                </a:lnTo>
                <a:lnTo>
                  <a:pt x="1907" y="374"/>
                </a:lnTo>
                <a:lnTo>
                  <a:pt x="1902" y="374"/>
                </a:lnTo>
                <a:lnTo>
                  <a:pt x="1895" y="372"/>
                </a:lnTo>
                <a:lnTo>
                  <a:pt x="1890" y="369"/>
                </a:lnTo>
                <a:lnTo>
                  <a:pt x="1890" y="365"/>
                </a:lnTo>
                <a:lnTo>
                  <a:pt x="1885" y="360"/>
                </a:lnTo>
                <a:lnTo>
                  <a:pt x="1874" y="353"/>
                </a:lnTo>
                <a:lnTo>
                  <a:pt x="1871" y="350"/>
                </a:lnTo>
                <a:lnTo>
                  <a:pt x="1871" y="336"/>
                </a:lnTo>
                <a:lnTo>
                  <a:pt x="1874" y="320"/>
                </a:lnTo>
                <a:lnTo>
                  <a:pt x="1878" y="308"/>
                </a:lnTo>
                <a:lnTo>
                  <a:pt x="1890" y="310"/>
                </a:lnTo>
                <a:lnTo>
                  <a:pt x="1890" y="308"/>
                </a:lnTo>
                <a:lnTo>
                  <a:pt x="1874" y="296"/>
                </a:lnTo>
                <a:lnTo>
                  <a:pt x="1874" y="294"/>
                </a:lnTo>
                <a:lnTo>
                  <a:pt x="1878" y="279"/>
                </a:lnTo>
                <a:lnTo>
                  <a:pt x="1878" y="258"/>
                </a:lnTo>
                <a:lnTo>
                  <a:pt x="1881" y="241"/>
                </a:lnTo>
                <a:lnTo>
                  <a:pt x="1888" y="234"/>
                </a:lnTo>
                <a:lnTo>
                  <a:pt x="1881" y="223"/>
                </a:lnTo>
                <a:lnTo>
                  <a:pt x="1878" y="218"/>
                </a:lnTo>
                <a:lnTo>
                  <a:pt x="1878" y="196"/>
                </a:lnTo>
                <a:lnTo>
                  <a:pt x="1874" y="180"/>
                </a:lnTo>
                <a:lnTo>
                  <a:pt x="1874" y="170"/>
                </a:lnTo>
                <a:lnTo>
                  <a:pt x="1876" y="163"/>
                </a:lnTo>
                <a:lnTo>
                  <a:pt x="1881" y="147"/>
                </a:lnTo>
                <a:lnTo>
                  <a:pt x="1883" y="140"/>
                </a:lnTo>
                <a:lnTo>
                  <a:pt x="1885" y="133"/>
                </a:lnTo>
                <a:lnTo>
                  <a:pt x="1883" y="121"/>
                </a:lnTo>
                <a:lnTo>
                  <a:pt x="1878" y="107"/>
                </a:lnTo>
                <a:lnTo>
                  <a:pt x="1878" y="99"/>
                </a:lnTo>
                <a:lnTo>
                  <a:pt x="1878" y="97"/>
                </a:lnTo>
                <a:lnTo>
                  <a:pt x="1883" y="92"/>
                </a:lnTo>
                <a:lnTo>
                  <a:pt x="1885" y="92"/>
                </a:lnTo>
                <a:lnTo>
                  <a:pt x="1893" y="92"/>
                </a:lnTo>
                <a:lnTo>
                  <a:pt x="1897" y="90"/>
                </a:lnTo>
                <a:lnTo>
                  <a:pt x="1902" y="85"/>
                </a:lnTo>
                <a:lnTo>
                  <a:pt x="1909" y="73"/>
                </a:lnTo>
                <a:lnTo>
                  <a:pt x="1916" y="66"/>
                </a:lnTo>
                <a:lnTo>
                  <a:pt x="1968" y="43"/>
                </a:lnTo>
                <a:lnTo>
                  <a:pt x="1973" y="43"/>
                </a:lnTo>
                <a:lnTo>
                  <a:pt x="1982" y="38"/>
                </a:lnTo>
                <a:lnTo>
                  <a:pt x="2025" y="31"/>
                </a:lnTo>
                <a:lnTo>
                  <a:pt x="2070" y="14"/>
                </a:lnTo>
                <a:lnTo>
                  <a:pt x="2072" y="12"/>
                </a:lnTo>
                <a:lnTo>
                  <a:pt x="2075" y="12"/>
                </a:lnTo>
                <a:lnTo>
                  <a:pt x="2091" y="14"/>
                </a:lnTo>
                <a:lnTo>
                  <a:pt x="2113" y="7"/>
                </a:lnTo>
                <a:lnTo>
                  <a:pt x="2124" y="2"/>
                </a:lnTo>
                <a:lnTo>
                  <a:pt x="2127" y="0"/>
                </a:lnTo>
                <a:lnTo>
                  <a:pt x="2132" y="10"/>
                </a:lnTo>
                <a:moveTo>
                  <a:pt x="2070" y="3690"/>
                </a:moveTo>
                <a:lnTo>
                  <a:pt x="2070" y="3690"/>
                </a:lnTo>
                <a:lnTo>
                  <a:pt x="2077" y="3692"/>
                </a:lnTo>
                <a:lnTo>
                  <a:pt x="2077" y="3692"/>
                </a:lnTo>
                <a:lnTo>
                  <a:pt x="2079" y="3690"/>
                </a:lnTo>
                <a:lnTo>
                  <a:pt x="2082" y="3690"/>
                </a:lnTo>
                <a:lnTo>
                  <a:pt x="2077" y="3685"/>
                </a:lnTo>
                <a:lnTo>
                  <a:pt x="2075" y="3678"/>
                </a:lnTo>
                <a:lnTo>
                  <a:pt x="2070" y="3673"/>
                </a:lnTo>
                <a:lnTo>
                  <a:pt x="2068" y="3676"/>
                </a:lnTo>
                <a:lnTo>
                  <a:pt x="2065" y="3683"/>
                </a:lnTo>
                <a:lnTo>
                  <a:pt x="2065" y="3688"/>
                </a:lnTo>
                <a:lnTo>
                  <a:pt x="2070" y="3690"/>
                </a:lnTo>
              </a:path>
            </a:pathLst>
          </a:custGeom>
          <a:solidFill>
            <a:schemeClr val="bg1"/>
          </a:solidFill>
          <a:ln w="12700" cap="rnd">
            <a:solidFill>
              <a:schemeClr val="bg1">
                <a:lumMod val="50000"/>
              </a:schemeClr>
            </a:solidFill>
            <a:prstDash val="solid"/>
            <a:round/>
            <a:headEnd/>
            <a:tailEnd/>
          </a:ln>
        </p:spPr>
        <p:txBody>
          <a:bodyPr vert="horz" wrap="square" lIns="132077" tIns="66037" rIns="132077" bIns="66037" numCol="1" anchor="t" anchorCtr="0" compatLnSpc="1">
            <a:prstTxWarp prst="textNoShape">
              <a:avLst/>
            </a:prstTxWarp>
          </a:bodyPr>
          <a:lstStyle/>
          <a:p>
            <a:pPr defTabSz="1430414">
              <a:defRPr/>
            </a:pPr>
            <a:endParaRPr lang="fr-FR" sz="2667">
              <a:solidFill>
                <a:srgbClr val="000000"/>
              </a:solidFill>
              <a:latin typeface="Marianne"/>
            </a:endParaRPr>
          </a:p>
        </p:txBody>
      </p:sp>
      <p:sp>
        <p:nvSpPr>
          <p:cNvPr id="1837993464" name="Organigramme : Connecteur 117"/>
          <p:cNvSpPr/>
          <p:nvPr/>
        </p:nvSpPr>
        <p:spPr bwMode="auto">
          <a:xfrm>
            <a:off x="547619" y="1394127"/>
            <a:ext cx="96000" cy="96000"/>
          </a:xfrm>
          <a:prstGeom prst="flowChartConnector">
            <a:avLst/>
          </a:prstGeom>
          <a:solidFill>
            <a:srgbClr val="1C408E"/>
          </a:solidFill>
          <a:ln w="952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sz="2400">
              <a:solidFill>
                <a:srgbClr val="000000"/>
              </a:solidFill>
            </a:endParaRPr>
          </a:p>
        </p:txBody>
      </p:sp>
      <p:sp>
        <p:nvSpPr>
          <p:cNvPr id="232733254" name="ZoneTexte 118"/>
          <p:cNvSpPr txBox="1"/>
          <p:nvPr/>
        </p:nvSpPr>
        <p:spPr bwMode="auto">
          <a:xfrm>
            <a:off x="988606" y="1264117"/>
            <a:ext cx="1834559" cy="388055"/>
          </a:xfrm>
          <a:prstGeom prst="rect">
            <a:avLst/>
          </a:prstGeom>
          <a:noFill/>
        </p:spPr>
        <p:txBody>
          <a:bodyPr wrap="square" lIns="48000" rIns="48000">
            <a:spAutoFit/>
          </a:bodyPr>
          <a:lstStyle/>
          <a:p>
            <a:pPr>
              <a:lnSpc>
                <a:spcPct val="150000"/>
              </a:lnSpc>
              <a:defRPr/>
            </a:pPr>
            <a:r>
              <a:rPr lang="fr-FR" sz="1467" b="1" dirty="0">
                <a:solidFill>
                  <a:schemeClr val="bg1"/>
                </a:solidFill>
                <a:latin typeface="Marianne"/>
              </a:rPr>
              <a:t>Carte de visite</a:t>
            </a:r>
            <a:endParaRPr lang="fr-FR" sz="1467" i="1" u="sng" dirty="0">
              <a:solidFill>
                <a:schemeClr val="bg1"/>
              </a:solidFill>
              <a:latin typeface="Marianne"/>
            </a:endParaRPr>
          </a:p>
        </p:txBody>
      </p:sp>
      <p:sp>
        <p:nvSpPr>
          <p:cNvPr id="50" name="Rectangle 79"/>
          <p:cNvSpPr/>
          <p:nvPr/>
        </p:nvSpPr>
        <p:spPr bwMode="auto">
          <a:xfrm>
            <a:off x="10816374" y="2084851"/>
            <a:ext cx="917700" cy="163575"/>
          </a:xfrm>
          <a:prstGeom prst="roundRect">
            <a:avLst/>
          </a:prstGeom>
          <a:solidFill>
            <a:srgbClr val="1C408E"/>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a:defRPr/>
            </a:pPr>
            <a:r>
              <a:rPr lang="fr-FR" sz="933" b="1" dirty="0">
                <a:solidFill>
                  <a:srgbClr val="FFFFFF"/>
                </a:solidFill>
                <a:latin typeface="Marianne"/>
              </a:rPr>
              <a:t>Chiffres clés</a:t>
            </a:r>
            <a:endParaRPr sz="933" b="1" dirty="0">
              <a:solidFill>
                <a:srgbClr val="FFFFFF"/>
              </a:solidFill>
              <a:latin typeface="Marianne"/>
            </a:endParaRPr>
          </a:p>
        </p:txBody>
      </p:sp>
      <p:grpSp>
        <p:nvGrpSpPr>
          <p:cNvPr id="5" name="Groupe 4"/>
          <p:cNvGrpSpPr/>
          <p:nvPr/>
        </p:nvGrpSpPr>
        <p:grpSpPr>
          <a:xfrm>
            <a:off x="11032024" y="2360833"/>
            <a:ext cx="499059" cy="441353"/>
            <a:chOff x="8312784" y="1995686"/>
            <a:chExt cx="294954" cy="277097"/>
          </a:xfrm>
          <a:solidFill>
            <a:schemeClr val="bg1"/>
          </a:solidFill>
        </p:grpSpPr>
        <p:sp>
          <p:nvSpPr>
            <p:cNvPr id="51" name="ZoneTexte 109"/>
            <p:cNvSpPr txBox="1"/>
            <p:nvPr/>
          </p:nvSpPr>
          <p:spPr bwMode="auto">
            <a:xfrm>
              <a:off x="8390987" y="2041399"/>
              <a:ext cx="138548" cy="176923"/>
            </a:xfrm>
            <a:prstGeom prst="rect">
              <a:avLst/>
            </a:prstGeom>
            <a:grpFill/>
            <a:ln>
              <a:solidFill>
                <a:srgbClr val="1C408E"/>
              </a:solidFill>
            </a:ln>
          </p:spPr>
          <p:txBody>
            <a:bodyPr wrap="none" rtlCol="0" anchor="ctr">
              <a:spAutoFit/>
            </a:bodyPr>
            <a:lstStyle>
              <a:defPPr>
                <a:defRPr lang="fr-FR"/>
              </a:defPPr>
              <a:lvl1pPr algn="ctr" defTabSz="685800">
                <a:defRPr sz="800" i="1">
                  <a:solidFill>
                    <a:schemeClr val="bg2"/>
                  </a:solidFill>
                  <a:highlight>
                    <a:srgbClr val="FFFF00"/>
                  </a:highlight>
                  <a:latin typeface="Marianne" panose="02000000000000000000" pitchFamily="2" charset="0"/>
                  <a:ea typeface="Marianne"/>
                  <a:cs typeface="Marianne"/>
                </a:defRPr>
              </a:lvl1pPr>
            </a:lstStyle>
            <a:p>
              <a:endParaRPr sz="933" dirty="0">
                <a:solidFill>
                  <a:schemeClr val="bg1"/>
                </a:solidFill>
              </a:endParaRPr>
            </a:p>
          </p:txBody>
        </p:sp>
        <p:sp>
          <p:nvSpPr>
            <p:cNvPr id="69" name="Ellipse 111"/>
            <p:cNvSpPr/>
            <p:nvPr/>
          </p:nvSpPr>
          <p:spPr bwMode="auto">
            <a:xfrm>
              <a:off x="8312784" y="1995686"/>
              <a:ext cx="294954" cy="277097"/>
            </a:xfrm>
            <a:prstGeom prst="ellipse">
              <a:avLst/>
            </a:prstGeom>
            <a:grpFill/>
            <a:ln w="38100" cap="flat" cmpd="sng" algn="ctr">
              <a:solidFill>
                <a:srgbClr val="1C408E"/>
              </a:solidFill>
              <a:prstDash val="solid"/>
              <a:miter/>
            </a:ln>
            <a:effectLst/>
          </p:spPr>
          <p:txBody>
            <a:bodyPr rtlCol="0" anchor="ctr"/>
            <a:lstStyle/>
            <a:p>
              <a:pPr algn="ctr" defTabSz="914377">
                <a:defRPr/>
              </a:pPr>
              <a:r>
                <a:rPr lang="fr-FR" sz="800" dirty="0">
                  <a:latin typeface="Marianne"/>
                </a:rPr>
                <a:t>xx</a:t>
              </a:r>
            </a:p>
          </p:txBody>
        </p:sp>
      </p:grpSp>
      <p:sp>
        <p:nvSpPr>
          <p:cNvPr id="1106517336" name="ZoneTexte 84"/>
          <p:cNvSpPr txBox="1"/>
          <p:nvPr/>
        </p:nvSpPr>
        <p:spPr bwMode="auto">
          <a:xfrm>
            <a:off x="3493078" y="1713055"/>
            <a:ext cx="7169188" cy="430631"/>
          </a:xfrm>
          <a:prstGeom prst="rect">
            <a:avLst/>
          </a:prstGeom>
          <a:noFill/>
        </p:spPr>
        <p:txBody>
          <a:bodyPr wrap="square" rtlCol="0">
            <a:spAutoFit/>
          </a:bodyPr>
          <a:lstStyle/>
          <a:p>
            <a:pPr algn="just">
              <a:lnSpc>
                <a:spcPct val="106000"/>
              </a:lnSpc>
            </a:pPr>
            <a:r>
              <a:rPr lang="fr-FR" sz="1067" b="1" dirty="0">
                <a:solidFill>
                  <a:srgbClr val="1C408E"/>
                </a:solidFill>
                <a:latin typeface="Marianne"/>
                <a:ea typeface="Marianne"/>
                <a:cs typeface="Marianne"/>
              </a:rPr>
              <a:t>Contexte</a:t>
            </a:r>
            <a:r>
              <a:rPr lang="fr-FR" sz="1067" b="1" dirty="0">
                <a:solidFill>
                  <a:schemeClr val="accent3">
                    <a:lumMod val="50000"/>
                  </a:schemeClr>
                </a:solidFill>
                <a:latin typeface="Marianne"/>
                <a:ea typeface="Marianne"/>
                <a:cs typeface="Marianne"/>
              </a:rPr>
              <a:t> </a:t>
            </a:r>
            <a:endParaRPr lang="fr-FR" sz="1067" dirty="0">
              <a:latin typeface="Marianne" panose="02000000000000000000" pitchFamily="2" charset="0"/>
              <a:ea typeface="Marianne"/>
              <a:cs typeface="Marianne"/>
            </a:endParaRPr>
          </a:p>
          <a:p>
            <a:pPr marL="228594" indent="-228594" algn="just" fontAlgn="ctr">
              <a:spcAft>
                <a:spcPts val="267"/>
              </a:spcAft>
              <a:buFont typeface="Arial" panose="020B0604020202020204" pitchFamily="34" charset="0"/>
              <a:buChar char="•"/>
            </a:pPr>
            <a:r>
              <a:rPr lang="fr-FR" sz="1067" dirty="0">
                <a:latin typeface="Marianne" panose="02000000000000000000" pitchFamily="2" charset="0"/>
                <a:ea typeface="Marianne"/>
                <a:cs typeface="Marianne"/>
              </a:rPr>
              <a:t>xx</a:t>
            </a:r>
          </a:p>
        </p:txBody>
      </p:sp>
      <p:sp>
        <p:nvSpPr>
          <p:cNvPr id="9" name="Rectangle 8"/>
          <p:cNvSpPr/>
          <p:nvPr/>
        </p:nvSpPr>
        <p:spPr>
          <a:xfrm>
            <a:off x="3446494" y="5445225"/>
            <a:ext cx="8468127" cy="256545"/>
          </a:xfrm>
          <a:prstGeom prst="rect">
            <a:avLst/>
          </a:prstGeom>
        </p:spPr>
        <p:txBody>
          <a:bodyPr wrap="square" numCol="1">
            <a:spAutoFit/>
          </a:bodyPr>
          <a:lstStyle/>
          <a:p>
            <a:pPr marL="228594" indent="-228594" algn="just">
              <a:spcAft>
                <a:spcPts val="133"/>
              </a:spcAft>
              <a:buFont typeface="Arial" panose="020B0604020202020204" pitchFamily="34" charset="0"/>
              <a:buChar char="•"/>
            </a:pPr>
            <a:r>
              <a:rPr lang="fr-FR" sz="1067" b="1" dirty="0">
                <a:latin typeface="Marianne" panose="02000000000000000000" pitchFamily="2" charset="0"/>
              </a:rPr>
              <a:t>xx</a:t>
            </a:r>
            <a:endParaRPr lang="fr-FR" sz="1067" dirty="0">
              <a:latin typeface="Marianne" panose="02000000000000000000" pitchFamily="2" charset="0"/>
            </a:endParaRPr>
          </a:p>
        </p:txBody>
      </p:sp>
      <p:sp>
        <p:nvSpPr>
          <p:cNvPr id="37" name="ZoneTexte 36">
            <a:extLst>
              <a:ext uri="{FF2B5EF4-FFF2-40B4-BE49-F238E27FC236}">
                <a16:creationId xmlns:a16="http://schemas.microsoft.com/office/drawing/2014/main" id="{C38FE1C4-84C0-4C20-964A-5F13E86620D9}"/>
              </a:ext>
            </a:extLst>
          </p:cNvPr>
          <p:cNvSpPr txBox="1"/>
          <p:nvPr/>
        </p:nvSpPr>
        <p:spPr>
          <a:xfrm>
            <a:off x="3493077" y="3687578"/>
            <a:ext cx="2277795" cy="469103"/>
          </a:xfrm>
          <a:prstGeom prst="rect">
            <a:avLst/>
          </a:prstGeom>
          <a:noFill/>
        </p:spPr>
        <p:txBody>
          <a:bodyPr wrap="square">
            <a:spAutoFit/>
          </a:bodyPr>
          <a:lstStyle/>
          <a:p>
            <a:pPr fontAlgn="ctr">
              <a:lnSpc>
                <a:spcPct val="106000"/>
              </a:lnSpc>
              <a:spcAft>
                <a:spcPts val="267"/>
              </a:spcAft>
            </a:pPr>
            <a:r>
              <a:rPr lang="fr-FR" sz="1067" b="1" dirty="0">
                <a:solidFill>
                  <a:srgbClr val="1C408E"/>
                </a:solidFill>
                <a:latin typeface="Marianne"/>
                <a:ea typeface="Marianne"/>
                <a:cs typeface="Marianne"/>
              </a:rPr>
              <a:t>Bénéficiaires</a:t>
            </a:r>
            <a:r>
              <a:rPr lang="fr-FR" sz="1067" b="1" dirty="0">
                <a:solidFill>
                  <a:schemeClr val="accent3">
                    <a:lumMod val="50000"/>
                  </a:schemeClr>
                </a:solidFill>
                <a:latin typeface="Marianne"/>
                <a:ea typeface="Marianne"/>
                <a:cs typeface="Marianne"/>
              </a:rPr>
              <a:t> </a:t>
            </a:r>
            <a:endParaRPr lang="fr-FR" sz="1067" b="1" dirty="0">
              <a:solidFill>
                <a:schemeClr val="accent3">
                  <a:lumMod val="50000"/>
                </a:schemeClr>
              </a:solidFill>
              <a:latin typeface="Marianne" panose="02000000000000000000" pitchFamily="2" charset="0"/>
              <a:ea typeface="Marianne"/>
              <a:cs typeface="Marianne"/>
            </a:endParaRPr>
          </a:p>
          <a:p>
            <a:pPr marL="228594" indent="-228594" fontAlgn="ctr">
              <a:spcAft>
                <a:spcPts val="267"/>
              </a:spcAft>
              <a:buFont typeface="Arial" panose="020B0604020202020204" pitchFamily="34" charset="0"/>
              <a:buChar char="•"/>
            </a:pPr>
            <a:r>
              <a:rPr lang="fr-FR" sz="1067" dirty="0">
                <a:latin typeface="Marianne" panose="02000000000000000000" pitchFamily="2" charset="0"/>
                <a:ea typeface="Marianne"/>
                <a:cs typeface="Marianne"/>
              </a:rPr>
              <a:t>xx</a:t>
            </a:r>
            <a:endParaRPr lang="fr-FR" sz="1067" dirty="0">
              <a:latin typeface="Marianne"/>
              <a:ea typeface="Marianne"/>
              <a:cs typeface="Marianne"/>
            </a:endParaRPr>
          </a:p>
        </p:txBody>
      </p:sp>
      <p:sp>
        <p:nvSpPr>
          <p:cNvPr id="2" name="ZoneTexte 1">
            <a:extLst>
              <a:ext uri="{FF2B5EF4-FFF2-40B4-BE49-F238E27FC236}">
                <a16:creationId xmlns:a16="http://schemas.microsoft.com/office/drawing/2014/main" id="{9DA12973-D384-42B5-91C6-11266D302BDD}"/>
              </a:ext>
            </a:extLst>
          </p:cNvPr>
          <p:cNvSpPr txBox="1"/>
          <p:nvPr/>
        </p:nvSpPr>
        <p:spPr>
          <a:xfrm>
            <a:off x="3493078" y="2848270"/>
            <a:ext cx="5356212" cy="661912"/>
          </a:xfrm>
          <a:prstGeom prst="rect">
            <a:avLst/>
          </a:prstGeom>
          <a:noFill/>
        </p:spPr>
        <p:txBody>
          <a:bodyPr wrap="square" rtlCol="0">
            <a:spAutoFit/>
          </a:bodyPr>
          <a:lstStyle/>
          <a:p>
            <a:pPr>
              <a:spcAft>
                <a:spcPts val="267"/>
              </a:spcAft>
            </a:pPr>
            <a:r>
              <a:rPr lang="fr-FR" sz="1067" b="1" dirty="0">
                <a:solidFill>
                  <a:srgbClr val="1C408E"/>
                </a:solidFill>
                <a:latin typeface="Marianne"/>
              </a:rPr>
              <a:t>Objectifs</a:t>
            </a:r>
            <a:r>
              <a:rPr lang="fr-FR" sz="1067" b="1" dirty="0">
                <a:solidFill>
                  <a:schemeClr val="accent3">
                    <a:lumMod val="50000"/>
                  </a:schemeClr>
                </a:solidFill>
                <a:latin typeface="Marianne"/>
              </a:rPr>
              <a:t> </a:t>
            </a:r>
          </a:p>
          <a:p>
            <a:pPr marL="228594" indent="-228594">
              <a:spcAft>
                <a:spcPts val="267"/>
              </a:spcAft>
              <a:buFont typeface="Arial" panose="020B0604020202020204" pitchFamily="34" charset="0"/>
              <a:buChar char="•"/>
            </a:pPr>
            <a:r>
              <a:rPr lang="fr-FR" sz="1067" dirty="0">
                <a:solidFill>
                  <a:sysClr val="windowText" lastClr="000000"/>
                </a:solidFill>
                <a:latin typeface="Marianne" panose="02000000000000000000" pitchFamily="2" charset="0"/>
              </a:rPr>
              <a:t>xx</a:t>
            </a:r>
          </a:p>
          <a:p>
            <a:pPr marL="228594" indent="-228594">
              <a:spcAft>
                <a:spcPts val="400"/>
              </a:spcAft>
              <a:buFont typeface="Arial" panose="020B0604020202020204" pitchFamily="34" charset="0"/>
              <a:buChar char="•"/>
            </a:pPr>
            <a:endParaRPr lang="fr-FR" sz="1067" dirty="0">
              <a:solidFill>
                <a:sysClr val="windowText" lastClr="000000"/>
              </a:solidFill>
              <a:latin typeface="Marianne" panose="02000000000000000000" pitchFamily="2" charset="0"/>
            </a:endParaRPr>
          </a:p>
        </p:txBody>
      </p:sp>
      <p:sp>
        <p:nvSpPr>
          <p:cNvPr id="10" name="Rectangle 9">
            <a:extLst>
              <a:ext uri="{FF2B5EF4-FFF2-40B4-BE49-F238E27FC236}">
                <a16:creationId xmlns:a16="http://schemas.microsoft.com/office/drawing/2014/main" id="{3D079F21-596D-423C-A69E-D93A4C1AAC8B}"/>
              </a:ext>
            </a:extLst>
          </p:cNvPr>
          <p:cNvSpPr/>
          <p:nvPr/>
        </p:nvSpPr>
        <p:spPr>
          <a:xfrm>
            <a:off x="983141" y="1952933"/>
            <a:ext cx="1500329" cy="1001144"/>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i="1" dirty="0">
                <a:solidFill>
                  <a:schemeClr val="tx1"/>
                </a:solidFill>
                <a:latin typeface="Marianne" panose="02000000000000000000" pitchFamily="2" charset="0"/>
              </a:rPr>
              <a:t>Illustration</a:t>
            </a:r>
          </a:p>
        </p:txBody>
      </p:sp>
      <p:sp>
        <p:nvSpPr>
          <p:cNvPr id="41" name="Freeform: Shape 6">
            <a:extLst>
              <a:ext uri="{FF2B5EF4-FFF2-40B4-BE49-F238E27FC236}">
                <a16:creationId xmlns:a16="http://schemas.microsoft.com/office/drawing/2014/main" id="{145203CA-0327-4EF2-B597-E12567CC3FB2}"/>
              </a:ext>
            </a:extLst>
          </p:cNvPr>
          <p:cNvSpPr/>
          <p:nvPr/>
        </p:nvSpPr>
        <p:spPr bwMode="auto">
          <a:xfrm>
            <a:off x="10032437" y="68092"/>
            <a:ext cx="1977736" cy="609193"/>
          </a:xfrm>
          <a:custGeom>
            <a:avLst/>
            <a:gdLst>
              <a:gd name="connsiteX0" fmla="*/ 989038 w 3212389"/>
              <a:gd name="connsiteY0" fmla="*/ 403611 h 3386591"/>
              <a:gd name="connsiteX1" fmla="*/ 16581 w 3212389"/>
              <a:gd name="connsiteY1" fmla="*/ 2493668 h 3386591"/>
              <a:gd name="connsiteX2" fmla="*/ 1816352 w 3212389"/>
              <a:gd name="connsiteY2" fmla="*/ 3379039 h 3386591"/>
              <a:gd name="connsiteX3" fmla="*/ 3209724 w 3212389"/>
              <a:gd name="connsiteY3" fmla="*/ 2058239 h 3386591"/>
              <a:gd name="connsiteX4" fmla="*/ 2135667 w 3212389"/>
              <a:gd name="connsiteY4" fmla="*/ 142354 h 3386591"/>
              <a:gd name="connsiteX5" fmla="*/ 989038 w 3212389"/>
              <a:gd name="connsiteY5" fmla="*/ 403611 h 3386591"/>
              <a:gd name="connsiteX0" fmla="*/ 999424 w 3222775"/>
              <a:gd name="connsiteY0" fmla="*/ 403611 h 2973278"/>
              <a:gd name="connsiteX1" fmla="*/ 26967 w 3222775"/>
              <a:gd name="connsiteY1" fmla="*/ 2493668 h 2973278"/>
              <a:gd name="connsiteX2" fmla="*/ 2102140 w 3222775"/>
              <a:gd name="connsiteY2" fmla="*/ 2952249 h 2973278"/>
              <a:gd name="connsiteX3" fmla="*/ 3220110 w 3222775"/>
              <a:gd name="connsiteY3" fmla="*/ 2058239 h 2973278"/>
              <a:gd name="connsiteX4" fmla="*/ 2146053 w 3222775"/>
              <a:gd name="connsiteY4" fmla="*/ 142354 h 2973278"/>
              <a:gd name="connsiteX5" fmla="*/ 999424 w 3222775"/>
              <a:gd name="connsiteY5" fmla="*/ 403611 h 2973278"/>
              <a:gd name="connsiteX0" fmla="*/ 786584 w 3243745"/>
              <a:gd name="connsiteY0" fmla="*/ 311455 h 3046268"/>
              <a:gd name="connsiteX1" fmla="*/ 47803 w 3243745"/>
              <a:gd name="connsiteY1" fmla="*/ 2564099 h 3046268"/>
              <a:gd name="connsiteX2" fmla="*/ 2122976 w 3243745"/>
              <a:gd name="connsiteY2" fmla="*/ 3022680 h 3046268"/>
              <a:gd name="connsiteX3" fmla="*/ 3240946 w 3243745"/>
              <a:gd name="connsiteY3" fmla="*/ 2128670 h 3046268"/>
              <a:gd name="connsiteX4" fmla="*/ 2166889 w 3243745"/>
              <a:gd name="connsiteY4" fmla="*/ 212785 h 3046268"/>
              <a:gd name="connsiteX5" fmla="*/ 786584 w 3243745"/>
              <a:gd name="connsiteY5" fmla="*/ 311455 h 3046268"/>
              <a:gd name="connsiteX0" fmla="*/ 794782 w 3282189"/>
              <a:gd name="connsiteY0" fmla="*/ 337202 h 3072015"/>
              <a:gd name="connsiteX1" fmla="*/ 56001 w 3282189"/>
              <a:gd name="connsiteY1" fmla="*/ 2589846 h 3072015"/>
              <a:gd name="connsiteX2" fmla="*/ 2131174 w 3282189"/>
              <a:gd name="connsiteY2" fmla="*/ 3048427 h 3072015"/>
              <a:gd name="connsiteX3" fmla="*/ 3249144 w 3282189"/>
              <a:gd name="connsiteY3" fmla="*/ 2154417 h 3072015"/>
              <a:gd name="connsiteX4" fmla="*/ 2934531 w 3282189"/>
              <a:gd name="connsiteY4" fmla="*/ 197884 h 3072015"/>
              <a:gd name="connsiteX5" fmla="*/ 794782 w 3282189"/>
              <a:gd name="connsiteY5" fmla="*/ 337202 h 3072015"/>
              <a:gd name="connsiteX0" fmla="*/ 752066 w 3239474"/>
              <a:gd name="connsiteY0" fmla="*/ 337202 h 3303589"/>
              <a:gd name="connsiteX1" fmla="*/ 13285 w 3239474"/>
              <a:gd name="connsiteY1" fmla="*/ 2589846 h 3303589"/>
              <a:gd name="connsiteX2" fmla="*/ 1270595 w 3239474"/>
              <a:gd name="connsiteY2" fmla="*/ 3292305 h 3303589"/>
              <a:gd name="connsiteX3" fmla="*/ 3206428 w 3239474"/>
              <a:gd name="connsiteY3" fmla="*/ 2154417 h 3303589"/>
              <a:gd name="connsiteX4" fmla="*/ 2891815 w 3239474"/>
              <a:gd name="connsiteY4" fmla="*/ 197884 h 3303589"/>
              <a:gd name="connsiteX5" fmla="*/ 752066 w 3239474"/>
              <a:gd name="connsiteY5" fmla="*/ 337202 h 3303589"/>
              <a:gd name="connsiteX0" fmla="*/ 781294 w 3268702"/>
              <a:gd name="connsiteY0" fmla="*/ 337202 h 3185838"/>
              <a:gd name="connsiteX1" fmla="*/ 42513 w 3268702"/>
              <a:gd name="connsiteY1" fmla="*/ 2589846 h 3185838"/>
              <a:gd name="connsiteX2" fmla="*/ 1884011 w 3268702"/>
              <a:gd name="connsiteY2" fmla="*/ 3170365 h 3185838"/>
              <a:gd name="connsiteX3" fmla="*/ 3235656 w 3268702"/>
              <a:gd name="connsiteY3" fmla="*/ 2154417 h 3185838"/>
              <a:gd name="connsiteX4" fmla="*/ 2921043 w 3268702"/>
              <a:gd name="connsiteY4" fmla="*/ 197884 h 3185838"/>
              <a:gd name="connsiteX5" fmla="*/ 781294 w 3268702"/>
              <a:gd name="connsiteY5" fmla="*/ 337202 h 3185838"/>
              <a:gd name="connsiteX0" fmla="*/ 531199 w 3340200"/>
              <a:gd name="connsiteY0" fmla="*/ 205149 h 3402802"/>
              <a:gd name="connsiteX1" fmla="*/ 101762 w 3340200"/>
              <a:gd name="connsiteY1" fmla="*/ 2803290 h 3402802"/>
              <a:gd name="connsiteX2" fmla="*/ 1943260 w 3340200"/>
              <a:gd name="connsiteY2" fmla="*/ 3383809 h 3402802"/>
              <a:gd name="connsiteX3" fmla="*/ 3294905 w 3340200"/>
              <a:gd name="connsiteY3" fmla="*/ 2367861 h 3402802"/>
              <a:gd name="connsiteX4" fmla="*/ 2980292 w 3340200"/>
              <a:gd name="connsiteY4" fmla="*/ 411328 h 3402802"/>
              <a:gd name="connsiteX5" fmla="*/ 531199 w 3340200"/>
              <a:gd name="connsiteY5" fmla="*/ 205149 h 3402802"/>
              <a:gd name="connsiteX0" fmla="*/ 515406 w 3283081"/>
              <a:gd name="connsiteY0" fmla="*/ 419999 h 3617652"/>
              <a:gd name="connsiteX1" fmla="*/ 85969 w 3283081"/>
              <a:gd name="connsiteY1" fmla="*/ 3018140 h 3617652"/>
              <a:gd name="connsiteX2" fmla="*/ 1927467 w 3283081"/>
              <a:gd name="connsiteY2" fmla="*/ 3598659 h 3617652"/>
              <a:gd name="connsiteX3" fmla="*/ 3279112 w 3283081"/>
              <a:gd name="connsiteY3" fmla="*/ 2582711 h 3617652"/>
              <a:gd name="connsiteX4" fmla="*/ 2380182 w 3283081"/>
              <a:gd name="connsiteY4" fmla="*/ 219712 h 3617652"/>
              <a:gd name="connsiteX5" fmla="*/ 515406 w 3283081"/>
              <a:gd name="connsiteY5" fmla="*/ 419999 h 3617652"/>
              <a:gd name="connsiteX0" fmla="*/ 515406 w 3036322"/>
              <a:gd name="connsiteY0" fmla="*/ 466666 h 3687655"/>
              <a:gd name="connsiteX1" fmla="*/ 85969 w 3036322"/>
              <a:gd name="connsiteY1" fmla="*/ 3064807 h 3687655"/>
              <a:gd name="connsiteX2" fmla="*/ 1927467 w 3036322"/>
              <a:gd name="connsiteY2" fmla="*/ 3645326 h 3687655"/>
              <a:gd name="connsiteX3" fmla="*/ 3029918 w 3036322"/>
              <a:gd name="connsiteY3" fmla="*/ 3279721 h 3687655"/>
              <a:gd name="connsiteX4" fmla="*/ 2380182 w 3036322"/>
              <a:gd name="connsiteY4" fmla="*/ 266379 h 3687655"/>
              <a:gd name="connsiteX5" fmla="*/ 515406 w 3036322"/>
              <a:gd name="connsiteY5" fmla="*/ 466666 h 3687655"/>
              <a:gd name="connsiteX0" fmla="*/ 515406 w 2629813"/>
              <a:gd name="connsiteY0" fmla="*/ 436466 h 3621721"/>
              <a:gd name="connsiteX1" fmla="*/ 85969 w 2629813"/>
              <a:gd name="connsiteY1" fmla="*/ 3034607 h 3621721"/>
              <a:gd name="connsiteX2" fmla="*/ 1927467 w 2629813"/>
              <a:gd name="connsiteY2" fmla="*/ 3615126 h 3621721"/>
              <a:gd name="connsiteX3" fmla="*/ 2576615 w 2629813"/>
              <a:gd name="connsiteY3" fmla="*/ 2829630 h 3621721"/>
              <a:gd name="connsiteX4" fmla="*/ 2380182 w 2629813"/>
              <a:gd name="connsiteY4" fmla="*/ 236179 h 3621721"/>
              <a:gd name="connsiteX5" fmla="*/ 515406 w 2629813"/>
              <a:gd name="connsiteY5" fmla="*/ 436466 h 3621721"/>
              <a:gd name="connsiteX0" fmla="*/ 492431 w 2638658"/>
              <a:gd name="connsiteY0" fmla="*/ 239273 h 3923488"/>
              <a:gd name="connsiteX1" fmla="*/ 93214 w 2638658"/>
              <a:gd name="connsiteY1" fmla="*/ 3331403 h 3923488"/>
              <a:gd name="connsiteX2" fmla="*/ 1934712 w 2638658"/>
              <a:gd name="connsiteY2" fmla="*/ 3911922 h 3923488"/>
              <a:gd name="connsiteX3" fmla="*/ 2583860 w 2638658"/>
              <a:gd name="connsiteY3" fmla="*/ 3126426 h 3923488"/>
              <a:gd name="connsiteX4" fmla="*/ 2387427 w 2638658"/>
              <a:gd name="connsiteY4" fmla="*/ 532975 h 3923488"/>
              <a:gd name="connsiteX5" fmla="*/ 492431 w 2638658"/>
              <a:gd name="connsiteY5" fmla="*/ 239273 h 3923488"/>
              <a:gd name="connsiteX0" fmla="*/ 347509 w 2493736"/>
              <a:gd name="connsiteY0" fmla="*/ 206520 h 3882854"/>
              <a:gd name="connsiteX1" fmla="*/ 129614 w 2493736"/>
              <a:gd name="connsiteY1" fmla="*/ 2854061 h 3882854"/>
              <a:gd name="connsiteX2" fmla="*/ 1789790 w 2493736"/>
              <a:gd name="connsiteY2" fmla="*/ 3879169 h 3882854"/>
              <a:gd name="connsiteX3" fmla="*/ 2438938 w 2493736"/>
              <a:gd name="connsiteY3" fmla="*/ 3093673 h 3882854"/>
              <a:gd name="connsiteX4" fmla="*/ 2242505 w 2493736"/>
              <a:gd name="connsiteY4" fmla="*/ 500222 h 3882854"/>
              <a:gd name="connsiteX5" fmla="*/ 347509 w 2493736"/>
              <a:gd name="connsiteY5" fmla="*/ 206520 h 3882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3736" h="3882854" extrusionOk="0">
                <a:moveTo>
                  <a:pt x="347509" y="206520"/>
                </a:moveTo>
                <a:cubicBezTo>
                  <a:pt x="-4639" y="598827"/>
                  <a:pt x="-110766" y="2241953"/>
                  <a:pt x="129614" y="2854061"/>
                </a:cubicBezTo>
                <a:cubicBezTo>
                  <a:pt x="369994" y="3466169"/>
                  <a:pt x="1404903" y="3839234"/>
                  <a:pt x="1789790" y="3879169"/>
                </a:cubicBezTo>
                <a:cubicBezTo>
                  <a:pt x="2174677" y="3919104"/>
                  <a:pt x="2385719" y="3633120"/>
                  <a:pt x="2438938" y="3093673"/>
                </a:cubicBezTo>
                <a:cubicBezTo>
                  <a:pt x="2492157" y="2554226"/>
                  <a:pt x="2591077" y="981414"/>
                  <a:pt x="2242505" y="500222"/>
                </a:cubicBezTo>
                <a:cubicBezTo>
                  <a:pt x="1893934" y="19030"/>
                  <a:pt x="699658" y="-185787"/>
                  <a:pt x="347509" y="206520"/>
                </a:cubicBezTo>
                <a:close/>
              </a:path>
            </a:pathLst>
          </a:custGeom>
          <a:solidFill>
            <a:srgbClr val="1C4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333" b="1" dirty="0">
                <a:solidFill>
                  <a:schemeClr val="bg1"/>
                </a:solidFill>
                <a:latin typeface="Marianne" panose="02000000000000000000" pitchFamily="2" charset="0"/>
              </a:rPr>
              <a:t>Thème</a:t>
            </a:r>
          </a:p>
        </p:txBody>
      </p:sp>
      <p:sp>
        <p:nvSpPr>
          <p:cNvPr id="38" name="Rectangle : coins arrondis 37">
            <a:extLst>
              <a:ext uri="{FF2B5EF4-FFF2-40B4-BE49-F238E27FC236}">
                <a16:creationId xmlns:a16="http://schemas.microsoft.com/office/drawing/2014/main" id="{3D789748-B4CF-48DF-BC80-B1DB7232D4CD}"/>
              </a:ext>
            </a:extLst>
          </p:cNvPr>
          <p:cNvSpPr/>
          <p:nvPr/>
        </p:nvSpPr>
        <p:spPr bwMode="auto">
          <a:xfrm>
            <a:off x="4631974" y="136266"/>
            <a:ext cx="4885260" cy="609193"/>
          </a:xfrm>
          <a:prstGeom prst="roundRect">
            <a:avLst/>
          </a:prstGeom>
          <a:solidFill>
            <a:srgbClr val="1C4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133" i="1" dirty="0">
                <a:solidFill>
                  <a:schemeClr val="bg1"/>
                </a:solidFill>
                <a:latin typeface="Marianne" panose="02000000000000000000" pitchFamily="2" charset="0"/>
              </a:rPr>
              <a:t>Modèle de </a:t>
            </a:r>
            <a:r>
              <a:rPr lang="fr-FR" sz="2133" i="1">
                <a:solidFill>
                  <a:schemeClr val="bg1"/>
                </a:solidFill>
                <a:latin typeface="Marianne" panose="02000000000000000000" pitchFamily="2" charset="0"/>
              </a:rPr>
              <a:t>fiche simplifiée </a:t>
            </a:r>
            <a:r>
              <a:rPr lang="fr-FR" sz="2133" i="1" dirty="0">
                <a:solidFill>
                  <a:schemeClr val="bg1"/>
                </a:solidFill>
                <a:latin typeface="Marianne" panose="02000000000000000000" pitchFamily="2" charset="0"/>
              </a:rPr>
              <a:t>– Titre de l’initiative</a:t>
            </a:r>
          </a:p>
        </p:txBody>
      </p:sp>
      <p:sp>
        <p:nvSpPr>
          <p:cNvPr id="39" name="Espace réservé du numéro de diapositive 3">
            <a:extLst>
              <a:ext uri="{FF2B5EF4-FFF2-40B4-BE49-F238E27FC236}">
                <a16:creationId xmlns:a16="http://schemas.microsoft.com/office/drawing/2014/main" id="{51F2373B-9428-418C-97AE-C96D1686188A}"/>
              </a:ext>
            </a:extLst>
          </p:cNvPr>
          <p:cNvSpPr txBox="1">
            <a:spLocks/>
          </p:cNvSpPr>
          <p:nvPr/>
        </p:nvSpPr>
        <p:spPr bwMode="auto">
          <a:xfrm>
            <a:off x="11468947" y="6572391"/>
            <a:ext cx="723053" cy="312904"/>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3122C9-A0B9-462F-8757-0847AD287B63}" type="slidenum">
              <a:rPr lang="fr-FR" sz="1000" b="1"/>
              <a:pPr/>
              <a:t>8</a:t>
            </a:fld>
            <a:endParaRPr lang="fr-FR" sz="1000" b="1" dirty="0"/>
          </a:p>
        </p:txBody>
      </p:sp>
      <p:grpSp>
        <p:nvGrpSpPr>
          <p:cNvPr id="19" name="Groupe 18">
            <a:extLst>
              <a:ext uri="{FF2B5EF4-FFF2-40B4-BE49-F238E27FC236}">
                <a16:creationId xmlns:a16="http://schemas.microsoft.com/office/drawing/2014/main" id="{7056F698-6598-0803-791D-6B822F9B0B79}"/>
              </a:ext>
            </a:extLst>
          </p:cNvPr>
          <p:cNvGrpSpPr/>
          <p:nvPr/>
        </p:nvGrpSpPr>
        <p:grpSpPr>
          <a:xfrm>
            <a:off x="11034196" y="3083082"/>
            <a:ext cx="499059" cy="441353"/>
            <a:chOff x="8312784" y="1995686"/>
            <a:chExt cx="294954" cy="277097"/>
          </a:xfrm>
          <a:solidFill>
            <a:schemeClr val="bg1"/>
          </a:solidFill>
        </p:grpSpPr>
        <p:sp>
          <p:nvSpPr>
            <p:cNvPr id="20" name="ZoneTexte 109">
              <a:extLst>
                <a:ext uri="{FF2B5EF4-FFF2-40B4-BE49-F238E27FC236}">
                  <a16:creationId xmlns:a16="http://schemas.microsoft.com/office/drawing/2014/main" id="{9C2E3B94-5C9A-480C-7372-4EA9FA018BEA}"/>
                </a:ext>
              </a:extLst>
            </p:cNvPr>
            <p:cNvSpPr txBox="1"/>
            <p:nvPr/>
          </p:nvSpPr>
          <p:spPr bwMode="auto">
            <a:xfrm>
              <a:off x="8390987" y="2041399"/>
              <a:ext cx="138548" cy="176923"/>
            </a:xfrm>
            <a:prstGeom prst="rect">
              <a:avLst/>
            </a:prstGeom>
            <a:grpFill/>
            <a:ln>
              <a:solidFill>
                <a:srgbClr val="1C408E"/>
              </a:solidFill>
            </a:ln>
          </p:spPr>
          <p:txBody>
            <a:bodyPr wrap="none" rtlCol="0" anchor="ctr">
              <a:spAutoFit/>
            </a:bodyPr>
            <a:lstStyle>
              <a:defPPr>
                <a:defRPr lang="fr-FR"/>
              </a:defPPr>
              <a:lvl1pPr algn="ctr" defTabSz="685800">
                <a:defRPr sz="800" i="1">
                  <a:solidFill>
                    <a:schemeClr val="bg2"/>
                  </a:solidFill>
                  <a:highlight>
                    <a:srgbClr val="FFFF00"/>
                  </a:highlight>
                  <a:latin typeface="Marianne" panose="02000000000000000000" pitchFamily="2" charset="0"/>
                  <a:ea typeface="Marianne"/>
                  <a:cs typeface="Marianne"/>
                </a:defRPr>
              </a:lvl1pPr>
            </a:lstStyle>
            <a:p>
              <a:endParaRPr sz="933" dirty="0">
                <a:solidFill>
                  <a:schemeClr val="bg1"/>
                </a:solidFill>
              </a:endParaRPr>
            </a:p>
          </p:txBody>
        </p:sp>
        <p:sp>
          <p:nvSpPr>
            <p:cNvPr id="21" name="Ellipse 111">
              <a:extLst>
                <a:ext uri="{FF2B5EF4-FFF2-40B4-BE49-F238E27FC236}">
                  <a16:creationId xmlns:a16="http://schemas.microsoft.com/office/drawing/2014/main" id="{0B768C15-4127-B2C4-1DC4-EA68BF1A4C54}"/>
                </a:ext>
              </a:extLst>
            </p:cNvPr>
            <p:cNvSpPr/>
            <p:nvPr/>
          </p:nvSpPr>
          <p:spPr bwMode="auto">
            <a:xfrm>
              <a:off x="8312784" y="1995686"/>
              <a:ext cx="294954" cy="277097"/>
            </a:xfrm>
            <a:prstGeom prst="ellipse">
              <a:avLst/>
            </a:prstGeom>
            <a:grpFill/>
            <a:ln w="38100" cap="flat" cmpd="sng" algn="ctr">
              <a:solidFill>
                <a:srgbClr val="1C408E"/>
              </a:solidFill>
              <a:prstDash val="solid"/>
              <a:miter/>
            </a:ln>
            <a:effectLst/>
          </p:spPr>
          <p:txBody>
            <a:bodyPr rtlCol="0" anchor="ctr"/>
            <a:lstStyle/>
            <a:p>
              <a:pPr algn="ctr" defTabSz="914377">
                <a:defRPr/>
              </a:pPr>
              <a:r>
                <a:rPr lang="fr-FR" sz="800" dirty="0">
                  <a:latin typeface="Marianne"/>
                </a:rPr>
                <a:t>xx</a:t>
              </a:r>
            </a:p>
          </p:txBody>
        </p:sp>
      </p:grpSp>
      <p:grpSp>
        <p:nvGrpSpPr>
          <p:cNvPr id="22" name="Groupe 21">
            <a:extLst>
              <a:ext uri="{FF2B5EF4-FFF2-40B4-BE49-F238E27FC236}">
                <a16:creationId xmlns:a16="http://schemas.microsoft.com/office/drawing/2014/main" id="{AEE9BB79-AA6E-8A41-2BB0-F2A5BFAD4102}"/>
              </a:ext>
            </a:extLst>
          </p:cNvPr>
          <p:cNvGrpSpPr/>
          <p:nvPr/>
        </p:nvGrpSpPr>
        <p:grpSpPr>
          <a:xfrm>
            <a:off x="11036460" y="3867990"/>
            <a:ext cx="499059" cy="441353"/>
            <a:chOff x="8312784" y="1995686"/>
            <a:chExt cx="294954" cy="277097"/>
          </a:xfrm>
          <a:solidFill>
            <a:schemeClr val="bg1"/>
          </a:solidFill>
        </p:grpSpPr>
        <p:sp>
          <p:nvSpPr>
            <p:cNvPr id="23" name="ZoneTexte 109">
              <a:extLst>
                <a:ext uri="{FF2B5EF4-FFF2-40B4-BE49-F238E27FC236}">
                  <a16:creationId xmlns:a16="http://schemas.microsoft.com/office/drawing/2014/main" id="{4C2F36FF-331F-A03D-34A4-EBB6E8963B20}"/>
                </a:ext>
              </a:extLst>
            </p:cNvPr>
            <p:cNvSpPr txBox="1"/>
            <p:nvPr/>
          </p:nvSpPr>
          <p:spPr bwMode="auto">
            <a:xfrm>
              <a:off x="8390987" y="2041399"/>
              <a:ext cx="138548" cy="176923"/>
            </a:xfrm>
            <a:prstGeom prst="rect">
              <a:avLst/>
            </a:prstGeom>
            <a:grpFill/>
            <a:ln>
              <a:solidFill>
                <a:srgbClr val="1C408E"/>
              </a:solidFill>
            </a:ln>
          </p:spPr>
          <p:txBody>
            <a:bodyPr wrap="none" rtlCol="0" anchor="ctr">
              <a:spAutoFit/>
            </a:bodyPr>
            <a:lstStyle>
              <a:defPPr>
                <a:defRPr lang="fr-FR"/>
              </a:defPPr>
              <a:lvl1pPr algn="ctr" defTabSz="685800">
                <a:defRPr sz="800" i="1">
                  <a:solidFill>
                    <a:schemeClr val="bg2"/>
                  </a:solidFill>
                  <a:highlight>
                    <a:srgbClr val="FFFF00"/>
                  </a:highlight>
                  <a:latin typeface="Marianne" panose="02000000000000000000" pitchFamily="2" charset="0"/>
                  <a:ea typeface="Marianne"/>
                  <a:cs typeface="Marianne"/>
                </a:defRPr>
              </a:lvl1pPr>
            </a:lstStyle>
            <a:p>
              <a:endParaRPr sz="933" dirty="0">
                <a:solidFill>
                  <a:schemeClr val="bg1"/>
                </a:solidFill>
              </a:endParaRPr>
            </a:p>
          </p:txBody>
        </p:sp>
        <p:sp>
          <p:nvSpPr>
            <p:cNvPr id="24" name="Ellipse 111">
              <a:extLst>
                <a:ext uri="{FF2B5EF4-FFF2-40B4-BE49-F238E27FC236}">
                  <a16:creationId xmlns:a16="http://schemas.microsoft.com/office/drawing/2014/main" id="{C1954C0F-A824-89CF-4CE8-37CB3FB3C911}"/>
                </a:ext>
              </a:extLst>
            </p:cNvPr>
            <p:cNvSpPr/>
            <p:nvPr/>
          </p:nvSpPr>
          <p:spPr bwMode="auto">
            <a:xfrm>
              <a:off x="8312784" y="1995686"/>
              <a:ext cx="294954" cy="277097"/>
            </a:xfrm>
            <a:prstGeom prst="ellipse">
              <a:avLst/>
            </a:prstGeom>
            <a:grpFill/>
            <a:ln w="38100" cap="flat" cmpd="sng" algn="ctr">
              <a:solidFill>
                <a:srgbClr val="1C408E"/>
              </a:solidFill>
              <a:prstDash val="solid"/>
              <a:miter/>
            </a:ln>
            <a:effectLst/>
          </p:spPr>
          <p:txBody>
            <a:bodyPr rtlCol="0" anchor="ctr"/>
            <a:lstStyle/>
            <a:p>
              <a:pPr algn="ctr" defTabSz="914377">
                <a:defRPr/>
              </a:pPr>
              <a:r>
                <a:rPr lang="fr-FR" sz="800" dirty="0">
                  <a:latin typeface="Marianne"/>
                </a:rPr>
                <a:t>xx</a:t>
              </a:r>
            </a:p>
          </p:txBody>
        </p:sp>
      </p:grpSp>
      <p:pic>
        <p:nvPicPr>
          <p:cNvPr id="25" name="Image 24" descr="Une image contenant texte, Police, Graphique, logo&#10;&#10;Description générée automatiquement">
            <a:extLst>
              <a:ext uri="{FF2B5EF4-FFF2-40B4-BE49-F238E27FC236}">
                <a16:creationId xmlns:a16="http://schemas.microsoft.com/office/drawing/2014/main" id="{80C79FFD-2CC7-5BDA-30D1-A6505F4C4F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105033" y="54635"/>
            <a:ext cx="3356806" cy="928045"/>
          </a:xfrm>
          <a:prstGeom prst="rect">
            <a:avLst/>
          </a:prstGeom>
        </p:spPr>
      </p:pic>
    </p:spTree>
    <p:extLst>
      <p:ext uri="{BB962C8B-B14F-4D97-AF65-F5344CB8AC3E}">
        <p14:creationId xmlns:p14="http://schemas.microsoft.com/office/powerpoint/2010/main" val="813146135"/>
      </p:ext>
    </p:extLst>
  </p:cSld>
  <p:clrMapOvr>
    <a:masterClrMapping/>
  </p:clrMapOvr>
</p:sld>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EMIER MINISTRE">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ésentation20" id="{37C1200E-3D4A-7543-846E-734EA9CAF17D}" vid="{7797F982-CCA4-DB4D-AC08-18BFB5329DA2}"/>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057B6C4D3C4B64EA936985ED53166E2" ma:contentTypeVersion="4" ma:contentTypeDescription="Crée un document." ma:contentTypeScope="" ma:versionID="bd37fd5ef41d48c7492e275cc878a39e">
  <xsd:schema xmlns:xsd="http://www.w3.org/2001/XMLSchema" xmlns:xs="http://www.w3.org/2001/XMLSchema" xmlns:p="http://schemas.microsoft.com/office/2006/metadata/properties" xmlns:ns2="999c0565-db60-4495-966d-3e28bce783a4" targetNamespace="http://schemas.microsoft.com/office/2006/metadata/properties" ma:root="true" ma:fieldsID="36c321ac6d9fe6c34e27428e78235589" ns2:_="">
    <xsd:import namespace="999c0565-db60-4495-966d-3e28bce783a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9c0565-db60-4495-966d-3e28bce783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6857EE4-A4F0-4321-AFCF-E6064105B273}">
  <ds:schemaRefs>
    <ds:schemaRef ds:uri="http://schemas.microsoft.com/sharepoint/v3/contenttype/forms"/>
  </ds:schemaRefs>
</ds:datastoreItem>
</file>

<file path=customXml/itemProps2.xml><?xml version="1.0" encoding="utf-8"?>
<ds:datastoreItem xmlns:ds="http://schemas.openxmlformats.org/officeDocument/2006/customXml" ds:itemID="{82532B6D-3D19-4054-AED9-89BC615F97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9c0565-db60-4495-966d-3e28bce783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5B0E731-25D8-4458-8E1B-E6F8307AB457}">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28</TotalTime>
  <Words>834</Words>
  <Application>Microsoft Office PowerPoint</Application>
  <PresentationFormat>Grand écran</PresentationFormat>
  <Paragraphs>108</Paragraphs>
  <Slides>8</Slides>
  <Notes>7</Notes>
  <HiddenSlides>0</HiddenSlides>
  <MMClips>0</MMClips>
  <ScaleCrop>false</ScaleCrop>
  <HeadingPairs>
    <vt:vector size="4" baseType="variant">
      <vt:variant>
        <vt:lpstr>Thème</vt:lpstr>
      </vt:variant>
      <vt:variant>
        <vt:i4>2</vt:i4>
      </vt:variant>
      <vt:variant>
        <vt:lpstr>Titres des diapositives</vt:lpstr>
      </vt:variant>
      <vt:variant>
        <vt:i4>8</vt:i4>
      </vt:variant>
    </vt:vector>
  </HeadingPairs>
  <TitlesOfParts>
    <vt:vector size="10" baseType="lpstr">
      <vt:lpstr>Thème Office</vt:lpstr>
      <vt:lpstr>PREMIER MINISTRE</vt:lpstr>
      <vt:lpstr>Présentation PowerPoint</vt:lpstr>
      <vt:lpstr>Partagez vos bonnes pratiques sur le soutien à la qualité des modes d’accueil!</vt:lpstr>
      <vt:lpstr>Présentation PowerPoint</vt:lpstr>
      <vt:lpstr>Présentation PowerPoint</vt:lpstr>
      <vt:lpstr>Présentation PowerPoint</vt:lpstr>
      <vt:lpstr>Présentation PowerPoint</vt:lpstr>
      <vt:lpstr>Présentation PowerPoint</vt:lpstr>
      <vt:lpstr>Présentation PowerPoint</vt:lpstr>
    </vt:vector>
  </TitlesOfParts>
  <Company>Ministeres Sociaux</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tagez vos bonnes pratiques !</dc:title>
  <dc:creator>BAZIN, Elisa (DSS/DIR)</dc:creator>
  <cp:lastModifiedBy>FROSSARD, Jean-Baptiste (DSS/DIR)</cp:lastModifiedBy>
  <cp:revision>7</cp:revision>
  <dcterms:created xsi:type="dcterms:W3CDTF">2024-12-20T15:27:31Z</dcterms:created>
  <dcterms:modified xsi:type="dcterms:W3CDTF">2025-03-31T06:4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57B6C4D3C4B64EA936985ED53166E2</vt:lpwstr>
  </property>
</Properties>
</file>